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1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  <p:sldMasterId id="2147483711" r:id="rId2"/>
  </p:sldMasterIdLst>
  <p:notesMasterIdLst>
    <p:notesMasterId r:id="rId36"/>
  </p:notesMasterIdLst>
  <p:sldIdLst>
    <p:sldId id="256" r:id="rId3"/>
    <p:sldId id="305" r:id="rId4"/>
    <p:sldId id="308" r:id="rId5"/>
    <p:sldId id="257" r:id="rId6"/>
    <p:sldId id="258" r:id="rId7"/>
    <p:sldId id="259" r:id="rId8"/>
    <p:sldId id="310" r:id="rId9"/>
    <p:sldId id="262" r:id="rId10"/>
    <p:sldId id="267" r:id="rId11"/>
    <p:sldId id="265" r:id="rId12"/>
    <p:sldId id="266" r:id="rId13"/>
    <p:sldId id="263" r:id="rId14"/>
    <p:sldId id="264" r:id="rId15"/>
    <p:sldId id="299" r:id="rId16"/>
    <p:sldId id="307" r:id="rId17"/>
    <p:sldId id="268" r:id="rId18"/>
    <p:sldId id="269" r:id="rId19"/>
    <p:sldId id="270" r:id="rId20"/>
    <p:sldId id="271" r:id="rId21"/>
    <p:sldId id="272" r:id="rId22"/>
    <p:sldId id="273" r:id="rId23"/>
    <p:sldId id="275" r:id="rId24"/>
    <p:sldId id="276" r:id="rId25"/>
    <p:sldId id="306" r:id="rId26"/>
    <p:sldId id="277" r:id="rId27"/>
    <p:sldId id="278" r:id="rId28"/>
    <p:sldId id="279" r:id="rId29"/>
    <p:sldId id="309" r:id="rId30"/>
    <p:sldId id="280" r:id="rId31"/>
    <p:sldId id="298" r:id="rId32"/>
    <p:sldId id="281" r:id="rId33"/>
    <p:sldId id="282" r:id="rId34"/>
    <p:sldId id="302" r:id="rId35"/>
  </p:sldIdLst>
  <p:sldSz cx="9144000" cy="6858000" type="screen4x3"/>
  <p:notesSz cx="6797675" cy="9928225"/>
  <p:custDataLst>
    <p:tags r:id="rId3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B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Estilo medio 4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Estilo oscuro 1 - Énfasis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1EBBBCC-DAD2-459C-BE2E-F6DE35CF9A28}" styleName="Estilo oscuro 2 - Énfasis 3/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Estilo oscuro 2 - Énfasis 1/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Estilo medio 1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75827" autoAdjust="0"/>
  </p:normalViewPr>
  <p:slideViewPr>
    <p:cSldViewPr>
      <p:cViewPr>
        <p:scale>
          <a:sx n="100" d="100"/>
          <a:sy n="100" d="100"/>
        </p:scale>
        <p:origin x="-1104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6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cat>
            <c:strRef>
              <c:f>Hoja1!$A$2:$A$3</c:f>
              <c:strCache>
                <c:ptCount val="2"/>
                <c:pt idx="0">
                  <c:v>Mujeres</c:v>
                </c:pt>
                <c:pt idx="1">
                  <c:v>Varones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62.2</c:v>
                </c:pt>
                <c:pt idx="1">
                  <c:v>37.79999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Ingresados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cat>
            <c:strRef>
              <c:f>Hoja1!$A$2:$A$5</c:f>
              <c:strCache>
                <c:ptCount val="4"/>
                <c:pt idx="0">
                  <c:v>Civil</c:v>
                </c:pt>
                <c:pt idx="1">
                  <c:v>Penal</c:v>
                </c:pt>
                <c:pt idx="2">
                  <c:v>Cont-Adm</c:v>
                </c:pt>
                <c:pt idx="3">
                  <c:v>Social</c:v>
                </c:pt>
              </c:strCache>
            </c:strRef>
          </c:cat>
          <c:val>
            <c:numRef>
              <c:f>Hoja1!$B$2:$B$5</c:f>
              <c:numCache>
                <c:formatCode>#,##0</c:formatCode>
                <c:ptCount val="4"/>
                <c:pt idx="0">
                  <c:v>13374</c:v>
                </c:pt>
                <c:pt idx="1">
                  <c:v>13182</c:v>
                </c:pt>
                <c:pt idx="2">
                  <c:v>1306</c:v>
                </c:pt>
                <c:pt idx="3">
                  <c:v>24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AEE-4266-966A-661FE7DD76F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Resuelto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Hoja1!$A$2:$A$5</c:f>
              <c:strCache>
                <c:ptCount val="4"/>
                <c:pt idx="0">
                  <c:v>Civil</c:v>
                </c:pt>
                <c:pt idx="1">
                  <c:v>Penal</c:v>
                </c:pt>
                <c:pt idx="2">
                  <c:v>Cont-Adm</c:v>
                </c:pt>
                <c:pt idx="3">
                  <c:v>Social</c:v>
                </c:pt>
              </c:strCache>
            </c:strRef>
          </c:cat>
          <c:val>
            <c:numRef>
              <c:f>Hoja1!$C$2:$C$5</c:f>
              <c:numCache>
                <c:formatCode>#,##0</c:formatCode>
                <c:ptCount val="4"/>
                <c:pt idx="0">
                  <c:v>13595</c:v>
                </c:pt>
                <c:pt idx="1">
                  <c:v>13064</c:v>
                </c:pt>
                <c:pt idx="2">
                  <c:v>1472</c:v>
                </c:pt>
                <c:pt idx="3">
                  <c:v>22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AEE-4266-966A-661FE7DD76F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En Tramitación</c:v>
                </c:pt>
              </c:strCache>
            </c:strRef>
          </c:tx>
          <c:invertIfNegative val="0"/>
          <c:cat>
            <c:strRef>
              <c:f>Hoja1!$A$2:$A$5</c:f>
              <c:strCache>
                <c:ptCount val="4"/>
                <c:pt idx="0">
                  <c:v>Civil</c:v>
                </c:pt>
                <c:pt idx="1">
                  <c:v>Penal</c:v>
                </c:pt>
                <c:pt idx="2">
                  <c:v>Cont-Adm</c:v>
                </c:pt>
                <c:pt idx="3">
                  <c:v>Social</c:v>
                </c:pt>
              </c:strCache>
            </c:strRef>
          </c:cat>
          <c:val>
            <c:numRef>
              <c:f>Hoja1!$D$2:$D$5</c:f>
              <c:numCache>
                <c:formatCode>#,##0</c:formatCode>
                <c:ptCount val="4"/>
                <c:pt idx="0">
                  <c:v>6737</c:v>
                </c:pt>
                <c:pt idx="1">
                  <c:v>4975</c:v>
                </c:pt>
                <c:pt idx="2">
                  <c:v>891</c:v>
                </c:pt>
                <c:pt idx="3">
                  <c:v>16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AEE-4266-966A-661FE7DD76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44054784"/>
        <c:axId val="44068864"/>
        <c:axId val="0"/>
      </c:bar3DChart>
      <c:catAx>
        <c:axId val="440547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4068864"/>
        <c:crosses val="autoZero"/>
        <c:auto val="1"/>
        <c:lblAlgn val="ctr"/>
        <c:lblOffset val="100"/>
        <c:noMultiLvlLbl val="0"/>
      </c:catAx>
      <c:valAx>
        <c:axId val="44068864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440547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6705885434590371"/>
          <c:y val="0.14389541346267146"/>
          <c:w val="0.22517315149265257"/>
          <c:h val="0.45392896357140478"/>
        </c:manualLayout>
      </c:layout>
      <c:overlay val="0"/>
      <c:txPr>
        <a:bodyPr/>
        <a:lstStyle/>
        <a:p>
          <a:pPr>
            <a:defRPr sz="1600" baseline="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F735-40FB-BB51-09A03018D9C2}"/>
              </c:ext>
            </c:extLst>
          </c:dPt>
          <c:cat>
            <c:strRef>
              <c:f>Hoja1!$A$2:$A$6</c:f>
              <c:strCache>
                <c:ptCount val="5"/>
                <c:pt idx="0">
                  <c:v>La Rioja</c:v>
                </c:pt>
                <c:pt idx="1">
                  <c:v>Navarra</c:v>
                </c:pt>
                <c:pt idx="2">
                  <c:v>Cantabria</c:v>
                </c:pt>
                <c:pt idx="3">
                  <c:v>Asturias</c:v>
                </c:pt>
                <c:pt idx="4">
                  <c:v>Murcia</c:v>
                </c:pt>
              </c:strCache>
            </c:strRef>
          </c:cat>
          <c:val>
            <c:numRef>
              <c:f>Hoja1!$B$2:$B$6</c:f>
              <c:numCache>
                <c:formatCode>#,##0</c:formatCode>
                <c:ptCount val="5"/>
                <c:pt idx="0">
                  <c:v>14261</c:v>
                </c:pt>
                <c:pt idx="1">
                  <c:v>20470</c:v>
                </c:pt>
                <c:pt idx="2">
                  <c:v>32785</c:v>
                </c:pt>
                <c:pt idx="3">
                  <c:v>45429</c:v>
                </c:pt>
                <c:pt idx="4">
                  <c:v>1254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735-40FB-BB51-09A03018D9C2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cat>
            <c:strRef>
              <c:f>Hoja1!$A$2:$A$6</c:f>
              <c:strCache>
                <c:ptCount val="5"/>
                <c:pt idx="0">
                  <c:v>La Rioja</c:v>
                </c:pt>
                <c:pt idx="1">
                  <c:v>Navarra</c:v>
                </c:pt>
                <c:pt idx="2">
                  <c:v>Cantabria</c:v>
                </c:pt>
                <c:pt idx="3">
                  <c:v>Asturias</c:v>
                </c:pt>
                <c:pt idx="4">
                  <c:v>Murcia</c:v>
                </c:pt>
              </c:strCache>
            </c:strRef>
          </c:cat>
          <c:val>
            <c:numRef>
              <c:f>Hoja1!$C$2:$C$6</c:f>
              <c:numCache>
                <c:formatCode>#,##0</c:formatCode>
                <c:ptCount val="5"/>
                <c:pt idx="0">
                  <c:v>14032</c:v>
                </c:pt>
                <c:pt idx="1">
                  <c:v>21717</c:v>
                </c:pt>
                <c:pt idx="2">
                  <c:v>32524</c:v>
                </c:pt>
                <c:pt idx="3">
                  <c:v>48438</c:v>
                </c:pt>
                <c:pt idx="4">
                  <c:v>1274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735-40FB-BB51-09A03018D9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44376064"/>
        <c:axId val="44377600"/>
        <c:axId val="0"/>
      </c:bar3DChart>
      <c:catAx>
        <c:axId val="443760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4377600"/>
        <c:crosses val="autoZero"/>
        <c:auto val="1"/>
        <c:lblAlgn val="ctr"/>
        <c:lblOffset val="100"/>
        <c:noMultiLvlLbl val="0"/>
      </c:catAx>
      <c:valAx>
        <c:axId val="44377600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4437606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cat>
            <c:strRef>
              <c:f>Hoja1!$A$2:$A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0.56000000000000005</c:v>
                </c:pt>
                <c:pt idx="1">
                  <c:v>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735-4027-B049-F81876A2FEA8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21</c:v>
                </c:pt>
              </c:strCache>
            </c:strRef>
          </c:tx>
          <c:invertIfNegative val="0"/>
          <c:cat>
            <c:strRef>
              <c:f>Hoja1!$A$2:$A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0">
                  <c:v>0.47</c:v>
                </c:pt>
                <c:pt idx="1">
                  <c:v>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735-4027-B049-F81876A2FE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71653248"/>
        <c:axId val="71654784"/>
        <c:axId val="0"/>
      </c:bar3DChart>
      <c:catAx>
        <c:axId val="716532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71654784"/>
        <c:crosses val="autoZero"/>
        <c:auto val="1"/>
        <c:lblAlgn val="ctr"/>
        <c:lblOffset val="100"/>
        <c:noMultiLvlLbl val="0"/>
      </c:catAx>
      <c:valAx>
        <c:axId val="7165478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71653248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1"/>
    </mc:Choice>
    <mc:Fallback>
      <c:style val="21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234776902887151E-2"/>
          <c:y val="2.9067408240636586E-2"/>
          <c:w val="0.72837755905511814"/>
          <c:h val="0.85214514852310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La Rioja</c:v>
                </c:pt>
              </c:strCache>
            </c:strRef>
          </c:tx>
          <c:spPr>
            <a:gradFill flip="none" rotWithShape="1">
              <a:gsLst>
                <a:gs pos="0">
                  <a:schemeClr val="tx1">
                    <a:lumMod val="50000"/>
                    <a:lumOff val="50000"/>
                    <a:tint val="66000"/>
                    <a:satMod val="160000"/>
                  </a:schemeClr>
                </a:gs>
                <a:gs pos="50000">
                  <a:schemeClr val="tx1">
                    <a:lumMod val="50000"/>
                    <a:lumOff val="50000"/>
                    <a:tint val="44500"/>
                    <a:satMod val="160000"/>
                  </a:schemeClr>
                </a:gs>
                <a:gs pos="100000">
                  <a:schemeClr val="tx1">
                    <a:lumMod val="50000"/>
                    <a:lumOff val="50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</c:spPr>
          <c:invertIfNegative val="0"/>
          <c:cat>
            <c:strRef>
              <c:f>Hoja1!$A$2:$A$5</c:f>
              <c:strCache>
                <c:ptCount val="4"/>
                <c:pt idx="0">
                  <c:v>Civil</c:v>
                </c:pt>
                <c:pt idx="1">
                  <c:v>Penal</c:v>
                </c:pt>
                <c:pt idx="2">
                  <c:v>Cont-Adm</c:v>
                </c:pt>
                <c:pt idx="3">
                  <c:v>Social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0.5</c:v>
                </c:pt>
                <c:pt idx="1">
                  <c:v>0.38</c:v>
                </c:pt>
                <c:pt idx="2">
                  <c:v>0.61</c:v>
                </c:pt>
                <c:pt idx="3">
                  <c:v>0.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60D-4926-8BEF-E434880E992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spaña</c:v>
                </c:pt>
              </c:strCache>
            </c:strRef>
          </c:tx>
          <c:invertIfNegative val="0"/>
          <c:cat>
            <c:strRef>
              <c:f>Hoja1!$A$2:$A$5</c:f>
              <c:strCache>
                <c:ptCount val="4"/>
                <c:pt idx="0">
                  <c:v>Civil</c:v>
                </c:pt>
                <c:pt idx="1">
                  <c:v>Penal</c:v>
                </c:pt>
                <c:pt idx="2">
                  <c:v>Cont-Adm</c:v>
                </c:pt>
                <c:pt idx="3">
                  <c:v>Social</c:v>
                </c:pt>
              </c:strCache>
            </c:strRef>
          </c:cat>
          <c:val>
            <c:numRef>
              <c:f>Hoja1!$C$2:$C$5</c:f>
              <c:numCache>
                <c:formatCode>General</c:formatCode>
                <c:ptCount val="4"/>
                <c:pt idx="0">
                  <c:v>0.67</c:v>
                </c:pt>
                <c:pt idx="1">
                  <c:v>0.27</c:v>
                </c:pt>
                <c:pt idx="2">
                  <c:v>0.98</c:v>
                </c:pt>
                <c:pt idx="3">
                  <c:v>0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60D-4926-8BEF-E434880E992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olumna1</c:v>
                </c:pt>
              </c:strCache>
            </c:strRef>
          </c:tx>
          <c:invertIfNegative val="0"/>
          <c:cat>
            <c:strRef>
              <c:f>Hoja1!$A$2:$A$5</c:f>
              <c:strCache>
                <c:ptCount val="4"/>
                <c:pt idx="0">
                  <c:v>Civil</c:v>
                </c:pt>
                <c:pt idx="1">
                  <c:v>Penal</c:v>
                </c:pt>
                <c:pt idx="2">
                  <c:v>Cont-Adm</c:v>
                </c:pt>
                <c:pt idx="3">
                  <c:v>Social</c:v>
                </c:pt>
              </c:strCache>
            </c:strRef>
          </c:cat>
          <c:val>
            <c:numRef>
              <c:f>Hoja1!$D$2:$D$5</c:f>
              <c:numCache>
                <c:formatCode>General</c:formatCode>
                <c:ptCount val="4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60D-4926-8BEF-E434880E99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4449792"/>
        <c:axId val="44451328"/>
      </c:barChart>
      <c:catAx>
        <c:axId val="444497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4451328"/>
        <c:crosses val="autoZero"/>
        <c:auto val="1"/>
        <c:lblAlgn val="ctr"/>
        <c:lblOffset val="100"/>
        <c:noMultiLvlLbl val="0"/>
      </c:catAx>
      <c:valAx>
        <c:axId val="4445132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4449792"/>
        <c:crosses val="autoZero"/>
        <c:crossBetween val="between"/>
      </c:valAx>
    </c:plotArea>
    <c:legend>
      <c:legendPos val="r"/>
      <c:legendEntry>
        <c:idx val="2"/>
        <c:delete val="1"/>
      </c:legendEntry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</c:spPr>
          <c:invertIfNegative val="0"/>
          <c:cat>
            <c:strRef>
              <c:f>Hoja1!$A$2:$A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80.5</c:v>
                </c:pt>
                <c:pt idx="1">
                  <c:v>116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BEF-4A4C-9DAA-C98C75D62968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21</c:v>
                </c:pt>
              </c:strCache>
            </c:strRef>
          </c:tx>
          <c:invertIfNegative val="0"/>
          <c:cat>
            <c:strRef>
              <c:f>Hoja1!$A$2:$A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0">
                  <c:v>95</c:v>
                </c:pt>
                <c:pt idx="1">
                  <c:v>132.3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BEF-4A4C-9DAA-C98C75D62968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olumna1</c:v>
                </c:pt>
              </c:strCache>
            </c:strRef>
          </c:tx>
          <c:invertIfNegative val="0"/>
          <c:cat>
            <c:strRef>
              <c:f>Hoja1!$A$2:$A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BEF-4A4C-9DAA-C98C75D629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71713536"/>
        <c:axId val="71715072"/>
        <c:axId val="0"/>
      </c:bar3DChart>
      <c:catAx>
        <c:axId val="7171353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71715072"/>
        <c:crosses val="autoZero"/>
        <c:auto val="1"/>
        <c:lblAlgn val="ctr"/>
        <c:lblOffset val="100"/>
        <c:noMultiLvlLbl val="0"/>
      </c:catAx>
      <c:valAx>
        <c:axId val="71715072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71713536"/>
        <c:crosses val="autoZero"/>
        <c:crossBetween val="between"/>
      </c:valAx>
    </c:plotArea>
    <c:legend>
      <c:legendPos val="r"/>
      <c:legendEntry>
        <c:idx val="0"/>
        <c:delete val="1"/>
      </c:legendEntry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Hoja1!$A$2:$A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24.5</c:v>
                </c:pt>
                <c:pt idx="1">
                  <c:v>37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284-4299-A68B-A788AFEDC516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cat>
            <c:strRef>
              <c:f>Hoja1!$A$2:$A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0">
                  <c:v>28.5</c:v>
                </c:pt>
                <c:pt idx="1">
                  <c:v>41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284-4299-A68B-A788AFEDC516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olumna1</c:v>
                </c:pt>
              </c:strCache>
            </c:strRef>
          </c:tx>
          <c:invertIfNegative val="0"/>
          <c:cat>
            <c:strRef>
              <c:f>Hoja1!$A$2:$A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284-4299-A68B-A788AFEDC5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72056832"/>
        <c:axId val="72058368"/>
        <c:axId val="0"/>
      </c:bar3DChart>
      <c:catAx>
        <c:axId val="7205683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72058368"/>
        <c:crosses val="autoZero"/>
        <c:auto val="1"/>
        <c:lblAlgn val="ctr"/>
        <c:lblOffset val="100"/>
        <c:noMultiLvlLbl val="0"/>
      </c:catAx>
      <c:valAx>
        <c:axId val="7205836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72056832"/>
        <c:crosses val="autoZero"/>
        <c:crossBetween val="between"/>
      </c:valAx>
    </c:plotArea>
    <c:legend>
      <c:legendPos val="r"/>
      <c:legendEntry>
        <c:idx val="0"/>
        <c:delete val="1"/>
      </c:legendEntry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Hoja1!$D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D9B3FF"/>
            </a:solidFill>
          </c:spPr>
          <c:invertIfNegative val="0"/>
          <c:cat>
            <c:strRef>
              <c:f>Hoja1!$C$2:$C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  <c:pt idx="0">
                  <c:v>47.7</c:v>
                </c:pt>
                <c:pt idx="1">
                  <c:v>6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356-4D4A-ABD5-D86165B863E3}"/>
            </c:ext>
          </c:extLst>
        </c:ser>
        <c:ser>
          <c:idx val="1"/>
          <c:order val="1"/>
          <c:tx>
            <c:strRef>
              <c:f>Hoja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cat>
            <c:strRef>
              <c:f>Hoja1!$C$2:$C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E$2:$E$3</c:f>
              <c:numCache>
                <c:formatCode>General</c:formatCode>
                <c:ptCount val="2"/>
                <c:pt idx="0">
                  <c:v>50.7</c:v>
                </c:pt>
                <c:pt idx="1">
                  <c:v>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356-4D4A-ABD5-D86165B863E3}"/>
            </c:ext>
          </c:extLst>
        </c:ser>
        <c:ser>
          <c:idx val="2"/>
          <c:order val="2"/>
          <c:tx>
            <c:strRef>
              <c:f>Hoja1!$F$1</c:f>
              <c:strCache>
                <c:ptCount val="1"/>
                <c:pt idx="0">
                  <c:v>Columna1</c:v>
                </c:pt>
              </c:strCache>
            </c:strRef>
          </c:tx>
          <c:invertIfNegative val="0"/>
          <c:cat>
            <c:strRef>
              <c:f>Hoja1!$C$2:$C$3</c:f>
              <c:strCache>
                <c:ptCount val="2"/>
                <c:pt idx="0">
                  <c:v>La Rioja</c:v>
                </c:pt>
                <c:pt idx="1">
                  <c:v>España</c:v>
                </c:pt>
              </c:strCache>
            </c:strRef>
          </c:cat>
          <c:val>
            <c:numRef>
              <c:f>Hoja1!$F$2:$F$3</c:f>
              <c:numCache>
                <c:formatCode>General</c:formatCode>
                <c:ptCount val="2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356-4D4A-ABD5-D86165B863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80253312"/>
        <c:axId val="80254848"/>
        <c:axId val="0"/>
      </c:bar3DChart>
      <c:catAx>
        <c:axId val="80253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80254848"/>
        <c:crosses val="autoZero"/>
        <c:auto val="1"/>
        <c:lblAlgn val="ctr"/>
        <c:lblOffset val="100"/>
        <c:noMultiLvlLbl val="0"/>
      </c:catAx>
      <c:valAx>
        <c:axId val="802548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0253312"/>
        <c:crosses val="autoZero"/>
        <c:crossBetween val="between"/>
      </c:valAx>
    </c:plotArea>
    <c:legend>
      <c:legendPos val="r"/>
      <c:legendEntry>
        <c:idx val="2"/>
        <c:delete val="1"/>
      </c:legendEntry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800" b="0" dirty="0">
                <a:solidFill>
                  <a:schemeClr val="accent3"/>
                </a:solidFill>
              </a:rPr>
              <a:t>Concursos Presentados entre 2009 y </a:t>
            </a:r>
            <a:r>
              <a:rPr lang="en-US" sz="1800" b="0" dirty="0" smtClean="0">
                <a:solidFill>
                  <a:schemeClr val="accent3"/>
                </a:solidFill>
              </a:rPr>
              <a:t>2021</a:t>
            </a:r>
            <a:endParaRPr lang="en-US" sz="1800" b="0" dirty="0">
              <a:solidFill>
                <a:schemeClr val="accent3"/>
              </a:solidFill>
            </a:endParaRPr>
          </a:p>
        </c:rich>
      </c:tx>
      <c:layout>
        <c:manualLayout>
          <c:xMode val="edge"/>
          <c:yMode val="edge"/>
          <c:x val="0.13266246719160105"/>
          <c:y val="2.380952380952380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5370734908136486E-2"/>
          <c:y val="0.11744052826729992"/>
          <c:w val="0.72037887139107615"/>
          <c:h val="0.72988230637836937"/>
        </c:manualLayout>
      </c:layout>
      <c:lineChart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ncursos</c:v>
                </c:pt>
              </c:strCache>
            </c:strRef>
          </c:tx>
          <c:marker>
            <c:symbol val="none"/>
          </c:marker>
          <c:cat>
            <c:numRef>
              <c:f>Hoja1!$A$2:$A$14</c:f>
              <c:numCache>
                <c:formatCode>General</c:formatCode>
                <c:ptCount val="13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  <c:pt idx="12">
                  <c:v>2021</c:v>
                </c:pt>
              </c:numCache>
            </c:numRef>
          </c:cat>
          <c:val>
            <c:numRef>
              <c:f>Hoja1!$B$2:$B$14</c:f>
              <c:numCache>
                <c:formatCode>General</c:formatCode>
                <c:ptCount val="13"/>
                <c:pt idx="0">
                  <c:v>52</c:v>
                </c:pt>
                <c:pt idx="1">
                  <c:v>44</c:v>
                </c:pt>
                <c:pt idx="2">
                  <c:v>50</c:v>
                </c:pt>
                <c:pt idx="3">
                  <c:v>72</c:v>
                </c:pt>
                <c:pt idx="4">
                  <c:v>99</c:v>
                </c:pt>
                <c:pt idx="5">
                  <c:v>59</c:v>
                </c:pt>
                <c:pt idx="6">
                  <c:v>34</c:v>
                </c:pt>
                <c:pt idx="7">
                  <c:v>33</c:v>
                </c:pt>
                <c:pt idx="8">
                  <c:v>22</c:v>
                </c:pt>
                <c:pt idx="9">
                  <c:v>36</c:v>
                </c:pt>
                <c:pt idx="10">
                  <c:v>38</c:v>
                </c:pt>
                <c:pt idx="11">
                  <c:v>50</c:v>
                </c:pt>
                <c:pt idx="12">
                  <c:v>6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F8D-48CD-B48A-48AB91DCE7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389632"/>
        <c:axId val="80391168"/>
      </c:lineChart>
      <c:catAx>
        <c:axId val="803896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80391168"/>
        <c:crosses val="autoZero"/>
        <c:auto val="1"/>
        <c:lblAlgn val="ctr"/>
        <c:lblOffset val="100"/>
        <c:noMultiLvlLbl val="0"/>
      </c:catAx>
      <c:valAx>
        <c:axId val="803911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0389632"/>
        <c:crosses val="autoZero"/>
        <c:crossBetween val="between"/>
      </c:valAx>
    </c:plotArea>
    <c:legend>
      <c:legendPos val="r"/>
      <c:layout/>
      <c:overlay val="0"/>
    </c:legend>
    <c:plotVisOnly val="1"/>
    <c:dispBlanksAs val="zero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545</cdr:x>
      <cdr:y>0.78378</cdr:y>
    </cdr:from>
    <cdr:to>
      <cdr:x>1</cdr:x>
      <cdr:y>1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1296144" y="2088232"/>
          <a:ext cx="1080121" cy="5760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s-ES" sz="1400" b="1" dirty="0" smtClean="0">
              <a:solidFill>
                <a:schemeClr val="bg2">
                  <a:lumMod val="50000"/>
                </a:schemeClr>
              </a:solidFill>
            </a:rPr>
            <a:t>MUJERES</a:t>
          </a:r>
        </a:p>
        <a:p xmlns:a="http://schemas.openxmlformats.org/drawingml/2006/main">
          <a:r>
            <a:rPr lang="es-ES" sz="1400" b="1" dirty="0" smtClean="0">
              <a:solidFill>
                <a:schemeClr val="bg2">
                  <a:lumMod val="50000"/>
                </a:schemeClr>
              </a:solidFill>
            </a:rPr>
            <a:t>62,2%</a:t>
          </a:r>
          <a:endParaRPr lang="es-ES" sz="1400" b="1" dirty="0">
            <a:solidFill>
              <a:schemeClr val="bg2">
                <a:lumMod val="5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01366</cdr:x>
      <cdr:y>0.02155</cdr:y>
    </cdr:from>
    <cdr:to>
      <cdr:x>0.23581</cdr:x>
      <cdr:y>0.20289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48701" y="72008"/>
          <a:ext cx="792087" cy="6059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400" b="1" dirty="0" smtClean="0">
              <a:solidFill>
                <a:schemeClr val="accent2">
                  <a:lumMod val="50000"/>
                </a:schemeClr>
              </a:solidFill>
            </a:rPr>
            <a:t>VARONES</a:t>
          </a:r>
        </a:p>
        <a:p xmlns:a="http://schemas.openxmlformats.org/drawingml/2006/main">
          <a:r>
            <a:rPr lang="es-ES" sz="1400" b="1" dirty="0" smtClean="0">
              <a:solidFill>
                <a:schemeClr val="accent2">
                  <a:lumMod val="50000"/>
                </a:schemeClr>
              </a:solidFill>
            </a:rPr>
            <a:t>37,8%</a:t>
          </a:r>
          <a:endParaRPr lang="es-ES" sz="1400" b="1" dirty="0">
            <a:solidFill>
              <a:schemeClr val="accent2">
                <a:lumMod val="50000"/>
              </a:schemeClr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3415</cdr:x>
      <cdr:y>0.03198</cdr:y>
    </cdr:from>
    <cdr:to>
      <cdr:x>0.25624</cdr:x>
      <cdr:y>0.09948</cdr:y>
    </cdr:to>
    <cdr:sp macro="" textlink="">
      <cdr:nvSpPr>
        <cdr:cNvPr id="2" name="2 CuadroTexto"/>
        <cdr:cNvSpPr txBox="1"/>
      </cdr:nvSpPr>
      <cdr:spPr>
        <a:xfrm xmlns:a="http://schemas.openxmlformats.org/drawingml/2006/main">
          <a:off x="1188133" y="160394"/>
          <a:ext cx="1081350" cy="33854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600" dirty="0" smtClean="0">
              <a:solidFill>
                <a:schemeClr val="accent2">
                  <a:lumMod val="75000"/>
                </a:schemeClr>
              </a:solidFill>
            </a:rPr>
            <a:t>13.374</a:t>
          </a:r>
          <a:endParaRPr lang="es-ES" sz="1600" dirty="0">
            <a:solidFill>
              <a:schemeClr val="accent2">
                <a:lumMod val="75000"/>
              </a:schemeClr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58725</cdr:x>
      <cdr:y>0.41542</cdr:y>
    </cdr:from>
    <cdr:to>
      <cdr:x>0.729</cdr:x>
      <cdr:y>0.48595</cdr:y>
    </cdr:to>
    <cdr:sp macro="" textlink="">
      <cdr:nvSpPr>
        <cdr:cNvPr id="3" name="9 CuadroTexto"/>
        <cdr:cNvSpPr txBox="1"/>
      </cdr:nvSpPr>
      <cdr:spPr>
        <a:xfrm xmlns:a="http://schemas.openxmlformats.org/drawingml/2006/main">
          <a:off x="4474840" y="1994270"/>
          <a:ext cx="1080135" cy="3385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600" b="1" dirty="0" smtClean="0">
              <a:solidFill>
                <a:schemeClr val="accent1">
                  <a:lumMod val="75000"/>
                </a:schemeClr>
              </a:solidFill>
            </a:rPr>
            <a:t>45.429</a:t>
          </a:r>
          <a:endParaRPr lang="es-ES" sz="1600" dirty="0">
            <a:solidFill>
              <a:schemeClr val="accent1">
                <a:lumMod val="75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2943</cdr:x>
      <cdr:y>0.53095</cdr:y>
    </cdr:from>
    <cdr:to>
      <cdr:x>0.45495</cdr:x>
      <cdr:y>0.60147</cdr:y>
    </cdr:to>
    <cdr:sp macro="" textlink="">
      <cdr:nvSpPr>
        <cdr:cNvPr id="4" name="9 CuadroTexto"/>
        <cdr:cNvSpPr txBox="1"/>
      </cdr:nvSpPr>
      <cdr:spPr>
        <a:xfrm xmlns:a="http://schemas.openxmlformats.org/drawingml/2006/main">
          <a:off x="2242592" y="2548880"/>
          <a:ext cx="1224153" cy="33853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600" b="1" dirty="0" smtClean="0">
              <a:solidFill>
                <a:schemeClr val="accent1">
                  <a:lumMod val="75000"/>
                </a:schemeClr>
              </a:solidFill>
            </a:rPr>
            <a:t>20.470</a:t>
          </a:r>
          <a:endParaRPr lang="es-ES" sz="1600" dirty="0">
            <a:solidFill>
              <a:schemeClr val="accent1">
                <a:lumMod val="75000"/>
              </a:schemeClr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415D1E-B0C3-49D5-8D5F-63AC5958A5CD}" type="datetimeFigureOut">
              <a:rPr lang="es-ES" smtClean="0"/>
              <a:t>17/05/20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4FCEF-AC2B-4FB7-9BC8-8FB7D379D20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714628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24FCEF-AC2B-4FB7-9BC8-8FB7D379D205}" type="slidenum">
              <a:rPr lang="es-ES" smtClean="0"/>
              <a:t>2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14453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9144000" cy="4572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4960137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57950" y="4960137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 algn="ctr">
              <a:buNone/>
              <a:defRPr sz="1600"/>
            </a:lvl2pPr>
            <a:lvl3pPr marL="914377" indent="0" algn="ctr">
              <a:buNone/>
              <a:defRPr sz="16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744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57626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762000"/>
            <a:ext cx="1971675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1" y="762000"/>
            <a:ext cx="5686425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7543800" y="173563"/>
            <a:ext cx="0" cy="685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9005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79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662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9144000" cy="4572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4960137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57950" y="4960137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 algn="ctr">
              <a:buNone/>
              <a:defRPr sz="1600"/>
            </a:lvl2pPr>
            <a:lvl3pPr marL="914377" indent="0" algn="ctr">
              <a:buNone/>
              <a:defRPr sz="16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85225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6916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9144000" cy="45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960137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57950" y="4960137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74766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096" y="2286000"/>
            <a:ext cx="35661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1990" y="2286000"/>
            <a:ext cx="35661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234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2179636"/>
            <a:ext cx="356616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 cap="none" baseline="0">
                <a:solidFill>
                  <a:schemeClr val="accent2">
                    <a:lumMod val="75000"/>
                  </a:schemeClr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8096" y="2967788"/>
            <a:ext cx="356616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91990" y="2179636"/>
            <a:ext cx="356616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200" b="0" kern="1200" cap="none" baseline="0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91990" y="2967788"/>
            <a:ext cx="356616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2139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2726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775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516019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8096" y="471509"/>
            <a:ext cx="329184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0" y="822960"/>
            <a:ext cx="4258818" cy="518464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096" y="2257506"/>
            <a:ext cx="329184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788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960138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9141714" cy="457200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457200" tIns="365760"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7950" y="4960138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210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5634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762000"/>
            <a:ext cx="1971675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1" y="762000"/>
            <a:ext cx="5686425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7543800" y="173563"/>
            <a:ext cx="0" cy="6858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29034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79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919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9144000" cy="45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960137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57950" y="4960137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712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096" y="2286000"/>
            <a:ext cx="35661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91990" y="2286000"/>
            <a:ext cx="35661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89094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2179636"/>
            <a:ext cx="356616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 cap="none" baseline="0">
                <a:solidFill>
                  <a:schemeClr val="accent2">
                    <a:lumMod val="75000"/>
                  </a:schemeClr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8096" y="2967788"/>
            <a:ext cx="356616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91990" y="2179636"/>
            <a:ext cx="356616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200" b="0" kern="1200" cap="none" baseline="0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91990" y="2967788"/>
            <a:ext cx="356616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915982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792610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43220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68096" y="471509"/>
            <a:ext cx="329184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6250" y="822960"/>
            <a:ext cx="4258818" cy="518464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8096" y="2257506"/>
            <a:ext cx="329184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664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960138"/>
            <a:ext cx="5829300" cy="1463040"/>
          </a:xfrm>
        </p:spPr>
        <p:txBody>
          <a:bodyPr anchor="ctr">
            <a:normAutofit/>
          </a:bodyPr>
          <a:lstStyle>
            <a:lvl1pPr algn="r">
              <a:defRPr sz="44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9141714" cy="457200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457200" tIns="365760"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57950" y="4960138"/>
            <a:ext cx="24003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6290132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8731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2286000"/>
            <a:ext cx="7290055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8097" y="6470704"/>
            <a:ext cx="161560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C61E6E40-745F-46CC-B828-776AE1D2521F}" type="datetimeFigureOut">
              <a:rPr lang="es-ES" smtClean="0"/>
              <a:t>17/05/2022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2200" y="6470704"/>
            <a:ext cx="4426094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8000" y="6470704"/>
            <a:ext cx="73025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9B6EE666-415D-42D9-83DC-92A2FD670086}" type="slidenum">
              <a:rPr lang="es-ES" smtClean="0"/>
              <a:t>‹Nº›</a:t>
            </a:fld>
            <a:endParaRPr lang="es-ES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71500" y="826324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FF4BC9B3-0F4D-4D2B-9204-9A5CD9587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58473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="" xmlns:a16="http://schemas.microsoft.com/office/drawing/2014/main" id="{EC204E36-07EF-4F77-882A-1CBF5630C6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084F0CD0-5540-4F14-A625-C5A7ED4C9D8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637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4400" kern="1200" cap="all" spc="100" baseline="0">
          <a:solidFill>
            <a:schemeClr val="tx1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377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2"/>
        </a:buClr>
        <a:buSzPct val="100000"/>
        <a:buFont typeface="Tw Cen MT" panose="020B0602020104020603" pitchFamily="34" charset="0"/>
        <a:buChar char=" 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8096" y="585216"/>
            <a:ext cx="7290054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096" y="2286000"/>
            <a:ext cx="7290055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8097" y="6470704"/>
            <a:ext cx="161560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C61E6E40-745F-46CC-B828-776AE1D2521F}" type="datetimeFigureOut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17/05/2022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2200" y="6470704"/>
            <a:ext cx="4426094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8000" y="6470704"/>
            <a:ext cx="73025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9B6EE666-415D-42D9-83DC-92A2FD670086}" type="slidenum">
              <a:rPr lang="es-ES" smtClean="0">
                <a:solidFill>
                  <a:srgbClr val="2E2B21">
                    <a:lumMod val="90000"/>
                    <a:lumOff val="10000"/>
                  </a:srgbClr>
                </a:solidFill>
              </a:rPr>
              <a:pPr/>
              <a:t>‹Nº›</a:t>
            </a:fld>
            <a:endParaRPr lang="es-ES" dirty="0">
              <a:solidFill>
                <a:srgbClr val="2E2B21">
                  <a:lumMod val="90000"/>
                  <a:lumOff val="10000"/>
                </a:srgb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71500" y="826324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FF4BC9B3-0F4D-4D2B-9204-9A5CD9587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33110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084F0CD0-5540-4F14-A625-C5A7ED4C9D8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solidFill>
                <a:srgbClr val="FFFFFF"/>
              </a:solidFill>
              <a:latin typeface="Tw Cen MT Condensed" panose="020B0606020104020203" pitchFamily="34" charset="0"/>
              <a:sym typeface="Tw Cen MT Condensed" panose="020B0606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52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4400" kern="1200" cap="all" spc="100" baseline="0">
          <a:solidFill>
            <a:schemeClr val="tx1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377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2"/>
        </a:buClr>
        <a:buSzPct val="100000"/>
        <a:buFont typeface="Tw Cen MT" panose="020B0602020104020603" pitchFamily="34" charset="0"/>
        <a:buChar char=" 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7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7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7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7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305E2696-DB70-4ED1-978F-CDF8F19662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736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F80826A9-D7A3-4578-BEB8-BE73903101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44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 dirty="0"/>
              <a:t>MEMORIA </a:t>
            </a:r>
            <a:r>
              <a:rPr lang="es-ES" dirty="0" smtClean="0"/>
              <a:t>2021</a:t>
            </a:r>
            <a:endParaRPr lang="es-ES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6804248" y="4960137"/>
            <a:ext cx="2054002" cy="1463040"/>
          </a:xfrm>
        </p:spPr>
        <p:txBody>
          <a:bodyPr>
            <a:normAutofit/>
          </a:bodyPr>
          <a:lstStyle/>
          <a:p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TRIBUNAL SUPERIOR DE </a:t>
            </a:r>
            <a:endParaRPr lang="es-ES" sz="1200" dirty="0" smtClean="0">
              <a:solidFill>
                <a:schemeClr val="accent3">
                  <a:lumMod val="75000"/>
                </a:schemeClr>
              </a:solidFill>
            </a:endParaRPr>
          </a:p>
          <a:p>
            <a:r>
              <a:rPr lang="es-ES" sz="1200" dirty="0" smtClean="0">
                <a:solidFill>
                  <a:schemeClr val="accent3">
                    <a:lumMod val="75000"/>
                  </a:schemeClr>
                </a:solidFill>
              </a:rPr>
              <a:t>JUSTICIA </a:t>
            </a:r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DE LA RIOJA</a:t>
            </a:r>
          </a:p>
        </p:txBody>
      </p:sp>
      <p:pic>
        <p:nvPicPr>
          <p:cNvPr id="2074" name="Picture 26" descr="C:\Users\cgpj\Desktop\Fachada Palacio Justicia (185x184) - copia (2)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331" y="3789040"/>
            <a:ext cx="1384077" cy="1556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1954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6540208" cy="1187110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Tasa de Pendencia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7105018"/>
              </p:ext>
            </p:extLst>
          </p:nvPr>
        </p:nvGraphicFramePr>
        <p:xfrm>
          <a:off x="457200" y="1600200"/>
          <a:ext cx="7620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4499992" y="2292841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chemeClr val="accent4">
                    <a:lumMod val="50000"/>
                  </a:schemeClr>
                </a:solidFill>
              </a:rPr>
              <a:t>0,60</a:t>
            </a:r>
            <a:endParaRPr lang="es-E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771800" y="3040922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chemeClr val="accent2">
                    <a:lumMod val="50000"/>
                  </a:schemeClr>
                </a:solidFill>
              </a:rPr>
              <a:t>0,47</a:t>
            </a:r>
            <a:endParaRPr lang="es-E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5292080" y="3069137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chemeClr val="accent2">
                    <a:lumMod val="50000"/>
                  </a:schemeClr>
                </a:solidFill>
              </a:rPr>
              <a:t>0,50</a:t>
            </a:r>
            <a:endParaRPr lang="es-E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1979712" y="2492896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b="1" dirty="0" smtClean="0">
                <a:solidFill>
                  <a:schemeClr val="accent4">
                    <a:lumMod val="50000"/>
                  </a:schemeClr>
                </a:solidFill>
              </a:rPr>
              <a:t>0,56</a:t>
            </a:r>
            <a:endParaRPr lang="es-ES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8304" y="821445"/>
            <a:ext cx="1559446" cy="950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9434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585216"/>
            <a:ext cx="6696744" cy="1187110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Pendencia por jurisdicciones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585005"/>
              </p:ext>
            </p:extLst>
          </p:nvPr>
        </p:nvGraphicFramePr>
        <p:xfrm>
          <a:off x="899592" y="1774854"/>
          <a:ext cx="7620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3491880" y="4765794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0,27</a:t>
            </a:r>
            <a:endParaRPr lang="es-E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822296" y="3327107"/>
            <a:ext cx="733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0,67</a:t>
            </a:r>
            <a:endParaRPr lang="es-E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2735796" y="4396462"/>
            <a:ext cx="756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bg2">
                    <a:lumMod val="50000"/>
                  </a:schemeClr>
                </a:solidFill>
              </a:rPr>
              <a:t>0,38</a:t>
            </a:r>
            <a:endParaRPr lang="es-E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1403648" y="3876850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bg2">
                    <a:lumMod val="50000"/>
                  </a:schemeClr>
                </a:solidFill>
              </a:rPr>
              <a:t>0,50</a:t>
            </a:r>
            <a:endParaRPr lang="es-E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6094523" y="2884265"/>
            <a:ext cx="756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0,80</a:t>
            </a:r>
            <a:endParaRPr lang="es-E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5364088" y="2924944"/>
            <a:ext cx="7154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bg2">
                    <a:lumMod val="50000"/>
                  </a:schemeClr>
                </a:solidFill>
              </a:rPr>
              <a:t>0,74</a:t>
            </a:r>
            <a:endParaRPr lang="es-ES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4542207" y="2214156"/>
            <a:ext cx="719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bg1">
                    <a:lumMod val="50000"/>
                  </a:schemeClr>
                </a:solidFill>
              </a:rPr>
              <a:t>0,98</a:t>
            </a:r>
            <a:endParaRPr lang="es-E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3919297" y="3500916"/>
            <a:ext cx="7293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bg2">
                    <a:lumMod val="50000"/>
                  </a:schemeClr>
                </a:solidFill>
              </a:rPr>
              <a:t>0,61</a:t>
            </a:r>
            <a:endParaRPr lang="es-ES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8304" y="821445"/>
            <a:ext cx="1559446" cy="950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607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692696"/>
            <a:ext cx="6696744" cy="1152128"/>
          </a:xfrm>
        </p:spPr>
        <p:txBody>
          <a:bodyPr/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Litigiosidad </a:t>
            </a:r>
            <a:b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s-ES" sz="2000" dirty="0" smtClean="0">
                <a:solidFill>
                  <a:schemeClr val="accent2">
                    <a:lumMod val="75000"/>
                  </a:schemeClr>
                </a:solidFill>
              </a:rPr>
              <a:t>(litigios por cada 1.000 habitantes)</a:t>
            </a:r>
            <a:endParaRPr lang="es-ES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9585699"/>
              </p:ext>
            </p:extLst>
          </p:nvPr>
        </p:nvGraphicFramePr>
        <p:xfrm>
          <a:off x="1115616" y="1772816"/>
          <a:ext cx="6025480" cy="3835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4067944" y="2924943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</a:rPr>
              <a:t>116,5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3707904" y="3977154"/>
            <a:ext cx="771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</a:rPr>
              <a:t>95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371108" y="4293096"/>
            <a:ext cx="7728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</a:rPr>
              <a:t>80,5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4333170" y="2621223"/>
            <a:ext cx="886902" cy="378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</a:rPr>
              <a:t>132,3</a:t>
            </a:r>
            <a:endParaRPr lang="es-ES" b="1" dirty="0">
              <a:solidFill>
                <a:schemeClr val="bg1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8304" y="821445"/>
            <a:ext cx="1559446" cy="950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277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9552" y="332656"/>
            <a:ext cx="6768752" cy="1143000"/>
          </a:xfrm>
        </p:spPr>
        <p:txBody>
          <a:bodyPr/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Criminalidad </a:t>
            </a:r>
            <a:b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s-ES" sz="2000" dirty="0" smtClean="0">
                <a:solidFill>
                  <a:schemeClr val="accent2">
                    <a:lumMod val="75000"/>
                  </a:schemeClr>
                </a:solidFill>
              </a:rPr>
              <a:t>(delitos por cada 1.000 habitantes)</a:t>
            </a:r>
            <a:endParaRPr lang="es-ES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3217626"/>
              </p:ext>
            </p:extLst>
          </p:nvPr>
        </p:nvGraphicFramePr>
        <p:xfrm>
          <a:off x="1043608" y="1772816"/>
          <a:ext cx="6025480" cy="3835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3635896" y="2921900"/>
            <a:ext cx="9361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</a:rPr>
              <a:t>37,4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2984919" y="3995772"/>
            <a:ext cx="813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8,5</a:t>
            </a:r>
            <a:endParaRPr lang="es-E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918721" y="4365104"/>
            <a:ext cx="8110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</a:rPr>
              <a:t>24,5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3798843" y="2604406"/>
            <a:ext cx="1046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1,3</a:t>
            </a:r>
            <a:endParaRPr lang="es-E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8304" y="620688"/>
            <a:ext cx="1559446" cy="864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804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482948"/>
            <a:ext cx="5616624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INDICADORES CLAVE 1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1447990"/>
              </p:ext>
            </p:extLst>
          </p:nvPr>
        </p:nvGraphicFramePr>
        <p:xfrm>
          <a:off x="768350" y="1988840"/>
          <a:ext cx="7289800" cy="148336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8224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224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2245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2245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ES" dirty="0" smtClean="0">
                          <a:solidFill>
                            <a:schemeClr val="bg1"/>
                          </a:solidFill>
                        </a:rPr>
                        <a:t>TASAS</a:t>
                      </a:r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bg1"/>
                          </a:solidFill>
                        </a:rPr>
                        <a:t>2021</a:t>
                      </a:r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EVOLUCIÓN</a:t>
                      </a:r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Resolución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0,97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,00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3,7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Pendencia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0,56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0,47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17,4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Congestión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,57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,47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6,4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7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637642"/>
              </p:ext>
            </p:extLst>
          </p:nvPr>
        </p:nvGraphicFramePr>
        <p:xfrm>
          <a:off x="768095" y="4005064"/>
          <a:ext cx="7290056" cy="175260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7083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083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0837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16494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r>
                        <a:rPr lang="es-ES" dirty="0" smtClean="0">
                          <a:solidFill>
                            <a:schemeClr val="bg1"/>
                          </a:solidFill>
                        </a:rPr>
                        <a:t>DURACIONES MEDIAS ESTIMADAS</a:t>
                      </a:r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0</a:t>
                      </a:r>
                    </a:p>
                    <a:p>
                      <a:pPr algn="ctr"/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1</a:t>
                      </a:r>
                    </a:p>
                    <a:p>
                      <a:pPr algn="ctr"/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</a:p>
                    <a:p>
                      <a:pPr algn="ctr"/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tx1"/>
                          </a:solidFill>
                        </a:rPr>
                        <a:t>1ª</a:t>
                      </a:r>
                      <a:r>
                        <a:rPr lang="es-ES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s-ES" dirty="0" smtClean="0">
                          <a:solidFill>
                            <a:schemeClr val="tx1"/>
                          </a:solidFill>
                        </a:rPr>
                        <a:t>Instancia</a:t>
                      </a:r>
                      <a:endParaRPr lang="es-E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6,3</a:t>
                      </a:r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6,1</a:t>
                      </a:r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2,6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ª Instancia</a:t>
                      </a:r>
                      <a:endParaRPr lang="es-E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8,2</a:t>
                      </a:r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,7</a:t>
                      </a:r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42,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28184" y="692696"/>
            <a:ext cx="1872208" cy="1080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53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489224"/>
            <a:ext cx="5460088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INDICADORES CLAVE 2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8834863"/>
              </p:ext>
            </p:extLst>
          </p:nvPr>
        </p:nvGraphicFramePr>
        <p:xfrm>
          <a:off x="768096" y="2348880"/>
          <a:ext cx="6462942" cy="11125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1543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5431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5431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r>
                        <a:rPr lang="es-ES" baseline="0" dirty="0" smtClean="0">
                          <a:solidFill>
                            <a:schemeClr val="bg1"/>
                          </a:solidFill>
                        </a:rPr>
                        <a:t>ASUNTOS INGRESADOS POR MAGISTRADO</a:t>
                      </a:r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0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1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703,8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819,9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6,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6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1434105"/>
              </p:ext>
            </p:extLst>
          </p:nvPr>
        </p:nvGraphicFramePr>
        <p:xfrm>
          <a:off x="768095" y="4293096"/>
          <a:ext cx="6468201" cy="111252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1560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560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560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r>
                        <a:rPr lang="es-ES" baseline="0" dirty="0" smtClean="0">
                          <a:solidFill>
                            <a:schemeClr val="bg1"/>
                          </a:solidFill>
                        </a:rPr>
                        <a:t>SENTENCIAS DICTADAS POR MAGISTRADO</a:t>
                      </a:r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s-E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0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1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3,0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53,9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5,0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28184" y="908720"/>
            <a:ext cx="1839689" cy="108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5411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585216"/>
            <a:ext cx="6120680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Salas TSJR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554360" y="2141166"/>
            <a:ext cx="4161656" cy="639762"/>
          </a:xfrm>
        </p:spPr>
        <p:txBody>
          <a:bodyPr>
            <a:normAutofit/>
          </a:bodyPr>
          <a:lstStyle/>
          <a:p>
            <a:r>
              <a:rPr lang="es-ES" dirty="0" smtClean="0">
                <a:solidFill>
                  <a:schemeClr val="accent1"/>
                </a:solidFill>
              </a:rPr>
              <a:t>Contencioso-Administrativo</a:t>
            </a:r>
            <a:endParaRPr lang="es-ES" dirty="0">
              <a:solidFill>
                <a:schemeClr val="accent1"/>
              </a:solidFill>
            </a:endParaRPr>
          </a:p>
        </p:txBody>
      </p:sp>
      <p:graphicFrame>
        <p:nvGraphicFramePr>
          <p:cNvPr id="7" name="6 Marcador de contenido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934780951"/>
              </p:ext>
            </p:extLst>
          </p:nvPr>
        </p:nvGraphicFramePr>
        <p:xfrm>
          <a:off x="179512" y="3142456"/>
          <a:ext cx="4464496" cy="2651760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9361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Ingresados</a:t>
                      </a:r>
                    </a:p>
                    <a:p>
                      <a:endParaRPr lang="es-E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Resueltos </a:t>
                      </a:r>
                      <a:endParaRPr lang="es-E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En trámite</a:t>
                      </a:r>
                      <a:endParaRPr lang="es-ES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1</a:t>
                      </a:r>
                    </a:p>
                    <a:p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476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580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464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41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406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568</a:t>
                      </a:r>
                    </a:p>
                    <a:p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sz="1600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5,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8,2%</a:t>
                      </a:r>
                    </a:p>
                    <a:p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>
                          <a:solidFill>
                            <a:schemeClr val="tx1"/>
                          </a:solidFill>
                        </a:rPr>
                        <a:t>-18,3%</a:t>
                      </a:r>
                    </a:p>
                    <a:p>
                      <a:endParaRPr lang="es-E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56176" y="2141166"/>
            <a:ext cx="2361456" cy="631452"/>
          </a:xfrm>
        </p:spPr>
        <p:txBody>
          <a:bodyPr/>
          <a:lstStyle/>
          <a:p>
            <a:r>
              <a:rPr lang="es-ES" dirty="0" smtClean="0">
                <a:solidFill>
                  <a:schemeClr val="accent1"/>
                </a:solidFill>
              </a:rPr>
              <a:t>Social</a:t>
            </a:r>
            <a:endParaRPr lang="es-ES" dirty="0">
              <a:solidFill>
                <a:schemeClr val="accent1"/>
              </a:solidFill>
            </a:endParaRPr>
          </a:p>
        </p:txBody>
      </p:sp>
      <p:graphicFrame>
        <p:nvGraphicFramePr>
          <p:cNvPr id="8" name="7 Marcador de contenido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179852975"/>
              </p:ext>
            </p:extLst>
          </p:nvPr>
        </p:nvGraphicFramePr>
        <p:xfrm>
          <a:off x="4716016" y="3140968"/>
          <a:ext cx="4427984" cy="2653248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9361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5963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Ingresados</a:t>
                      </a:r>
                      <a:endParaRPr lang="es-E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 smtClean="0"/>
                        <a:t>Resueltos </a:t>
                      </a:r>
                    </a:p>
                    <a:p>
                      <a:endParaRPr lang="es-E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 smtClean="0"/>
                        <a:t>En trámite</a:t>
                      </a:r>
                    </a:p>
                    <a:p>
                      <a:endParaRPr lang="es-ES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1</a:t>
                      </a:r>
                    </a:p>
                    <a:p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255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239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21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204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21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5</a:t>
                      </a:r>
                    </a:p>
                    <a:p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15888">
                <a:tc>
                  <a:txBody>
                    <a:bodyPr/>
                    <a:lstStyle/>
                    <a:p>
                      <a:endParaRPr lang="es-ES" sz="1600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5,0%</a:t>
                      </a:r>
                    </a:p>
                    <a:p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2,7%</a:t>
                      </a:r>
                    </a:p>
                    <a:p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320,0%</a:t>
                      </a:r>
                    </a:p>
                    <a:p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" name="Picture 4" descr="C:\Users\cgpj\Desktop\im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548680"/>
            <a:ext cx="1584175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033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745" y="404664"/>
            <a:ext cx="6323535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Audiencia Provincial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935254"/>
              </p:ext>
            </p:extLst>
          </p:nvPr>
        </p:nvGraphicFramePr>
        <p:xfrm>
          <a:off x="755576" y="1973232"/>
          <a:ext cx="7620000" cy="4138856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1905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CIVIL</a:t>
                      </a:r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0456">
                <a:tc>
                  <a:txBody>
                    <a:bodyPr/>
                    <a:lstStyle/>
                    <a:p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INGRESADOS</a:t>
                      </a:r>
                      <a:endParaRPr lang="es-ES" sz="14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RESUELTOS</a:t>
                      </a:r>
                      <a:r>
                        <a:rPr lang="es-ES" sz="1400" baseline="0" dirty="0" smtClean="0"/>
                        <a:t> </a:t>
                      </a:r>
                      <a:endParaRPr lang="es-ES" sz="14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EN TRAMITACIÓN</a:t>
                      </a:r>
                      <a:endParaRPr lang="es-ES" sz="14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1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959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109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52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0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35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726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702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79,2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52,7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21,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pPr algn="ctr"/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 smtClean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bg1"/>
                          </a:solidFill>
                        </a:rPr>
                        <a:t>PENAL</a:t>
                      </a:r>
                      <a:endParaRPr lang="es-E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1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771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902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72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0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645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785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65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9,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4,9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25,4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6" name="Picture 4" descr="C:\Users\cgpj\Desktop\im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04664"/>
            <a:ext cx="1656183" cy="14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0402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6540208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Audiencia Provincial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92619743"/>
              </p:ext>
            </p:extLst>
          </p:nvPr>
        </p:nvGraphicFramePr>
        <p:xfrm>
          <a:off x="768424" y="2750408"/>
          <a:ext cx="7620000" cy="2910840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1905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741680">
                <a:tc gridSpan="4"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TOTAL  DE  ASUNTOS </a:t>
                      </a:r>
                    </a:p>
                    <a:p>
                      <a:pPr algn="ctr"/>
                      <a:r>
                        <a:rPr lang="es-ES" sz="1400" dirty="0" smtClean="0"/>
                        <a:t>CIVIL + PENAL</a:t>
                      </a:r>
                      <a:endParaRPr lang="es-ES" sz="1400" b="1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s-ES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ES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ES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INGRESADOS</a:t>
                      </a:r>
                      <a:endParaRPr lang="es-ES" sz="14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RESUELTOS</a:t>
                      </a:r>
                      <a:endParaRPr lang="es-ES" sz="14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dirty="0" smtClean="0"/>
                        <a:t>EN TRAMITACIÓN</a:t>
                      </a:r>
                      <a:endParaRPr lang="es-ES" sz="14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sz="1600" dirty="0" smtClean="0"/>
                    </a:p>
                    <a:p>
                      <a:r>
                        <a:rPr lang="es-ES" sz="1600" dirty="0" smtClean="0"/>
                        <a:t>2021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730</a:t>
                      </a:r>
                      <a:endParaRPr lang="es-ES" b="0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.011</a:t>
                      </a:r>
                      <a:endParaRPr lang="es-ES" b="0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824</a:t>
                      </a:r>
                      <a:endParaRPr lang="es-ES" b="0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sz="1600" dirty="0" smtClean="0"/>
                    </a:p>
                    <a:p>
                      <a:r>
                        <a:rPr lang="es-ES" sz="1600" dirty="0" smtClean="0"/>
                        <a:t>2020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180</a:t>
                      </a:r>
                      <a:endParaRPr lang="es-ES" b="0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511</a:t>
                      </a:r>
                      <a:endParaRPr lang="es-ES" b="0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067</a:t>
                      </a:r>
                      <a:endParaRPr lang="es-ES" b="0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6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46,6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33,0</a:t>
                      </a:r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22,7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 descr="C:\Users\cgpj\Desktop\im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620688"/>
            <a:ext cx="1224135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87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6468200" cy="1499616"/>
          </a:xfrm>
        </p:spPr>
        <p:txBody>
          <a:bodyPr>
            <a:normAutofit/>
          </a:bodyPr>
          <a:lstStyle/>
          <a:p>
            <a:r>
              <a:rPr lang="es-ES" sz="3600" dirty="0" smtClean="0">
                <a:solidFill>
                  <a:srgbClr val="7030A0"/>
                </a:solidFill>
              </a:rPr>
              <a:t>Violencia  sobre  la  Mujer</a:t>
            </a:r>
            <a:r>
              <a:rPr lang="es-ES" sz="3600" dirty="0"/>
              <a:t/>
            </a:r>
            <a:br>
              <a:rPr lang="es-ES" sz="3600" dirty="0"/>
            </a:br>
            <a:endParaRPr lang="es-ES" sz="3600" dirty="0">
              <a:solidFill>
                <a:srgbClr val="7030A0"/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96167397"/>
              </p:ext>
            </p:extLst>
          </p:nvPr>
        </p:nvGraphicFramePr>
        <p:xfrm>
          <a:off x="840432" y="3052544"/>
          <a:ext cx="7620000" cy="239268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1905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r>
                        <a:rPr lang="es-ES" dirty="0" smtClean="0"/>
                        <a:t>Movimiento de Asuntos</a:t>
                      </a:r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aseline="0" dirty="0" smtClean="0"/>
                    </a:p>
                    <a:p>
                      <a:pPr algn="ctr"/>
                      <a:r>
                        <a:rPr lang="es-ES" baseline="0" dirty="0" smtClean="0"/>
                        <a:t>Denuncias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Renuncias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Órdenes de Protección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2021</a:t>
                      </a:r>
                      <a:endParaRPr lang="es-ES" b="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823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14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10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2020</a:t>
                      </a:r>
                      <a:endParaRPr lang="es-ES" b="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768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3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11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7,1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1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46,9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098" name="Picture 2" descr="C:\Users\cgpj\Desktop\images (3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764704"/>
            <a:ext cx="1419410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4049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5388080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Memoria 2021</a:t>
            </a:r>
            <a:b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</a:b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68096" y="2348880"/>
            <a:ext cx="7980368" cy="3960480"/>
          </a:xfrm>
        </p:spPr>
        <p:txBody>
          <a:bodyPr>
            <a:normAutofit/>
          </a:bodyPr>
          <a:lstStyle/>
          <a:p>
            <a:endParaRPr lang="es-ES" dirty="0" smtClean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I. El reconocimiento a los compañeros</a:t>
            </a: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II. La superación de la pandemia</a:t>
            </a: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III. Los logros de la Justicia Riojana</a:t>
            </a: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IV. Las necesidades actuales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03717" y="764704"/>
            <a:ext cx="2571750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5811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9552" y="585216"/>
            <a:ext cx="6912768" cy="1331616"/>
          </a:xfrm>
        </p:spPr>
        <p:txBody>
          <a:bodyPr/>
          <a:lstStyle/>
          <a:p>
            <a:pPr algn="ctr"/>
            <a:r>
              <a:rPr lang="es-ES" sz="3600" dirty="0" smtClean="0">
                <a:solidFill>
                  <a:srgbClr val="7030A0"/>
                </a:solidFill>
              </a:rPr>
              <a:t>Mujeres víctimas de </a:t>
            </a:r>
            <a:r>
              <a:rPr lang="es-ES" sz="3600" dirty="0" err="1" smtClean="0">
                <a:solidFill>
                  <a:srgbClr val="7030A0"/>
                </a:solidFill>
              </a:rPr>
              <a:t>viGE</a:t>
            </a:r>
            <a:r>
              <a:rPr lang="es-ES" sz="3600" dirty="0" smtClean="0">
                <a:solidFill>
                  <a:srgbClr val="7030A0"/>
                </a:solidFill>
              </a:rPr>
              <a:t> </a:t>
            </a:r>
            <a:r>
              <a:rPr lang="es-ES" sz="2800" dirty="0" smtClean="0">
                <a:solidFill>
                  <a:srgbClr val="7030A0"/>
                </a:solidFill>
              </a:rPr>
              <a:t/>
            </a:r>
            <a:br>
              <a:rPr lang="es-ES" sz="2800" dirty="0" smtClean="0">
                <a:solidFill>
                  <a:srgbClr val="7030A0"/>
                </a:solidFill>
              </a:rPr>
            </a:br>
            <a:r>
              <a:rPr lang="es-ES" sz="2000" dirty="0" smtClean="0">
                <a:solidFill>
                  <a:srgbClr val="7030A0"/>
                </a:solidFill>
              </a:rPr>
              <a:t>(por cada 10.000 mujeres)</a:t>
            </a:r>
            <a:endParaRPr lang="es-ES" sz="2000" dirty="0">
              <a:solidFill>
                <a:srgbClr val="7030A0"/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04870164"/>
              </p:ext>
            </p:extLst>
          </p:nvPr>
        </p:nvGraphicFramePr>
        <p:xfrm>
          <a:off x="457200" y="1600200"/>
          <a:ext cx="7620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4355976" y="2718212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</a:rPr>
              <a:t>60,2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4949552" y="2379102"/>
            <a:ext cx="774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tx2"/>
                </a:solidFill>
              </a:rPr>
              <a:t>66,0</a:t>
            </a:r>
            <a:endParaRPr lang="es-ES" dirty="0">
              <a:solidFill>
                <a:schemeClr val="tx2"/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2339752" y="3212976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0,7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1691679" y="3355160"/>
            <a:ext cx="849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 smtClean="0">
                <a:solidFill>
                  <a:schemeClr val="bg1"/>
                </a:solidFill>
              </a:rPr>
              <a:t>47,4</a:t>
            </a:r>
            <a:endParaRPr lang="es-ES" b="1" dirty="0">
              <a:solidFill>
                <a:schemeClr val="bg1"/>
              </a:solidFill>
            </a:endParaRPr>
          </a:p>
        </p:txBody>
      </p:sp>
      <p:pic>
        <p:nvPicPr>
          <p:cNvPr id="10" name="Picture 2" descr="C:\Users\cgpj\Desktop\images (3)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764704"/>
            <a:ext cx="1512168" cy="1008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5675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5748120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Menores 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3874303"/>
              </p:ext>
            </p:extLst>
          </p:nvPr>
        </p:nvGraphicFramePr>
        <p:xfrm>
          <a:off x="840432" y="2878688"/>
          <a:ext cx="7620000" cy="206248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1905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r>
                        <a:rPr lang="es-ES" dirty="0" smtClean="0"/>
                        <a:t>Menores Enjuiciados</a:t>
                      </a:r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sz="1600" dirty="0" smtClean="0"/>
                    </a:p>
                    <a:p>
                      <a:pPr algn="ctr"/>
                      <a:r>
                        <a:rPr lang="es-ES" sz="1600" dirty="0" smtClean="0"/>
                        <a:t>Ingresos</a:t>
                      </a:r>
                      <a:endParaRPr lang="es-ES" sz="16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sz="1600" dirty="0" smtClean="0"/>
                    </a:p>
                    <a:p>
                      <a:pPr algn="ctr"/>
                      <a:r>
                        <a:rPr lang="es-ES" sz="1600" dirty="0" smtClean="0"/>
                        <a:t>Resueltos</a:t>
                      </a:r>
                      <a:endParaRPr lang="es-ES" sz="16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sz="1600" dirty="0" smtClean="0"/>
                    </a:p>
                    <a:p>
                      <a:pPr algn="ctr"/>
                      <a:r>
                        <a:rPr lang="es-ES" sz="1600" dirty="0" smtClean="0"/>
                        <a:t>En Tramitación</a:t>
                      </a:r>
                      <a:endParaRPr lang="es-ES" sz="16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1</a:t>
                      </a:r>
                      <a:endParaRPr lang="es-ES" sz="16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16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6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31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dirty="0" smtClean="0"/>
                        <a:t>2020</a:t>
                      </a:r>
                      <a:endParaRPr lang="es-ES" sz="16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5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8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74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43,0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11,0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77,0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2" descr="Resultado de imagen de justicia dibujo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736" y="764704"/>
            <a:ext cx="1835696" cy="1573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1962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6388034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>
                <a:solidFill>
                  <a:schemeClr val="accent2">
                    <a:lumMod val="75000"/>
                  </a:schemeClr>
                </a:solidFill>
              </a:rPr>
              <a:t>Juzgado de lo </a:t>
            </a:r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Mercantil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1808722"/>
              </p:ext>
            </p:extLst>
          </p:nvPr>
        </p:nvGraphicFramePr>
        <p:xfrm>
          <a:off x="768424" y="3141072"/>
          <a:ext cx="7620003" cy="16560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466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466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466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466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4666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4666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46667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4666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46667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</a:tblGrid>
              <a:tr h="370840">
                <a:tc gridSpan="8"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Histórico de Concursos</a:t>
                      </a:r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13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14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15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16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17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18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19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0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1</a:t>
                      </a:r>
                      <a:endParaRPr lang="es-ES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99</a:t>
                      </a:r>
                    </a:p>
                    <a:p>
                      <a:pPr algn="ctr"/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59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34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33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2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36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38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>
                          <a:solidFill>
                            <a:schemeClr val="tx1"/>
                          </a:solidFill>
                        </a:rPr>
                        <a:t>52</a:t>
                      </a:r>
                      <a:endParaRPr lang="es-E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64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6" name="Picture 3" descr="C:\Users\cgpj\Desktop\imag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130" y="798913"/>
            <a:ext cx="1215107" cy="1215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47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6396192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Juzgado de lo Mercantil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54636452"/>
              </p:ext>
            </p:extLst>
          </p:nvPr>
        </p:nvGraphicFramePr>
        <p:xfrm>
          <a:off x="683568" y="1700808"/>
          <a:ext cx="7620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3" descr="C:\Users\cgpj\Desktop\image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798912"/>
            <a:ext cx="1215107" cy="1215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125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3568" y="260648"/>
            <a:ext cx="6408712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cláusulas abusivas</a:t>
            </a:r>
            <a:endParaRPr lang="es-ES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883648215"/>
              </p:ext>
            </p:extLst>
          </p:nvPr>
        </p:nvGraphicFramePr>
        <p:xfrm>
          <a:off x="683568" y="1844824"/>
          <a:ext cx="7992889" cy="259588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9361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121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281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28192"/>
                <a:gridCol w="2088233"/>
              </a:tblGrid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Ingresado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Resuelto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Sentencia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Tasa resolución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2017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1.21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   255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   208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 21,1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2018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1.17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1.327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1.234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13,2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2019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1.020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1.35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1.280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32,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b="0" dirty="0" smtClean="0">
                          <a:solidFill>
                            <a:schemeClr val="tx1"/>
                          </a:solidFill>
                        </a:rPr>
                        <a:t>2020</a:t>
                      </a:r>
                      <a:endParaRPr lang="es-E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   55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   759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   55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37,8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b="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endParaRPr lang="es-ES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   329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   458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/>
                        <a:t>   38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39,2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TOTAL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4.283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4.151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3.655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  99,2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2 Marcador de contenido"/>
          <p:cNvSpPr txBox="1">
            <a:spLocks/>
          </p:cNvSpPr>
          <p:nvPr/>
        </p:nvSpPr>
        <p:spPr>
          <a:xfrm>
            <a:off x="539552" y="4869160"/>
            <a:ext cx="8496944" cy="1368152"/>
          </a:xfrm>
          <a:prstGeom prst="rect">
            <a:avLst/>
          </a:prstGeom>
        </p:spPr>
        <p:txBody>
          <a:bodyPr vert="horz" lIns="45720" tIns="45720" rIns="45720" bIns="45720" rtlCol="0">
            <a:normAutofit fontScale="77500" lnSpcReduction="20000"/>
          </a:bodyPr>
          <a:lstStyle>
            <a:lvl1pPr marL="91440" indent="-9144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Juzgados de 1ª Instancia 6 y 7</a:t>
            </a: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A finales de 2021 sólo quedaban pendientes 132 asuntos por resolver</a:t>
            </a:r>
          </a:p>
          <a:p>
            <a:r>
              <a:rPr lang="es-ES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El 97,8% de las sentencias dictadas </a:t>
            </a:r>
            <a:r>
              <a:rPr lang="es-ES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fueron estimatorias</a:t>
            </a:r>
            <a:endParaRPr lang="es-ES" dirty="0">
              <a:solidFill>
                <a:schemeClr val="accent2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La Rioja tiene una tasa de resolución global sólo superada por Aragón (99,8%)</a:t>
            </a:r>
          </a:p>
          <a:p>
            <a:endParaRPr lang="es-ES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92280" y="548681"/>
            <a:ext cx="1575147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2360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585216"/>
            <a:ext cx="6365647" cy="1499616"/>
          </a:xfrm>
        </p:spPr>
        <p:txBody>
          <a:bodyPr/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Familia</a:t>
            </a:r>
            <a:r>
              <a:rPr lang="es-ES" sz="3200" dirty="0" smtClean="0">
                <a:solidFill>
                  <a:schemeClr val="accent2">
                    <a:lumMod val="75000"/>
                  </a:schemeClr>
                </a:solidFill>
              </a:rPr>
              <a:t>  </a:t>
            </a:r>
            <a:br>
              <a:rPr lang="es-ES" sz="320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s-ES" sz="2000" dirty="0" smtClean="0">
                <a:solidFill>
                  <a:schemeClr val="accent2">
                    <a:lumMod val="75000"/>
                  </a:schemeClr>
                </a:solidFill>
              </a:rPr>
              <a:t>(Logroño, Haro y Calahorra)</a:t>
            </a:r>
            <a:endParaRPr lang="es-ES" sz="20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07728510"/>
              </p:ext>
            </p:extLst>
          </p:nvPr>
        </p:nvGraphicFramePr>
        <p:xfrm>
          <a:off x="107504" y="2132856"/>
          <a:ext cx="9000999" cy="411988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48863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673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804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5423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8045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25423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47557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17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18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19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20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2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EVO</a:t>
                      </a:r>
                      <a:r>
                        <a:rPr lang="es-ES" baseline="0" dirty="0" smtClean="0"/>
                        <a:t> 2020-2021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Divorcios consensuados</a:t>
                      </a:r>
                      <a:endParaRPr lang="es-ES" sz="14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00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57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33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83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9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,3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Divorcios</a:t>
                      </a:r>
                      <a:r>
                        <a:rPr lang="es-ES" sz="1400" baseline="0" dirty="0" smtClean="0"/>
                        <a:t> no consensuados</a:t>
                      </a:r>
                      <a:endParaRPr lang="es-ES" sz="14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</a:t>
                      </a:r>
                      <a:r>
                        <a:rPr lang="es-ES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5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49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64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97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18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0,6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 smtClean="0"/>
                        <a:t>Separaciones consensuadas</a:t>
                      </a:r>
                      <a:endParaRPr lang="es-ES" sz="20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dk1"/>
                          </a:solidFill>
                        </a:rPr>
                        <a:t>34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dk1"/>
                          </a:solidFill>
                        </a:rPr>
                        <a:t>22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5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5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12,0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 smtClean="0"/>
                        <a:t>Separaciones</a:t>
                      </a:r>
                      <a:r>
                        <a:rPr lang="es-ES" sz="1400" baseline="0" dirty="0" smtClean="0"/>
                        <a:t> no </a:t>
                      </a:r>
                      <a:r>
                        <a:rPr lang="es-ES" sz="1400" baseline="0" dirty="0" err="1" smtClean="0"/>
                        <a:t>consens</a:t>
                      </a:r>
                      <a:r>
                        <a:rPr lang="es-ES" sz="1400" baseline="0" dirty="0" smtClean="0"/>
                        <a:t>.</a:t>
                      </a:r>
                      <a:endParaRPr lang="es-ES" sz="20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dk1"/>
                          </a:solidFill>
                        </a:rPr>
                        <a:t>7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dk1"/>
                          </a:solidFill>
                        </a:rPr>
                        <a:t>5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dk1"/>
                          </a:solidFill>
                        </a:rPr>
                        <a:t>10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8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60,0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G y C Hijos</a:t>
                      </a:r>
                      <a:r>
                        <a:rPr lang="es-ES" sz="1400" baseline="0" dirty="0" smtClean="0"/>
                        <a:t> no Matrimoniales</a:t>
                      </a:r>
                      <a:endParaRPr lang="es-ES" sz="14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95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dk1"/>
                          </a:solidFill>
                        </a:rPr>
                        <a:t>227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51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27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2,9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400" dirty="0" smtClean="0"/>
                        <a:t>Modificación</a:t>
                      </a:r>
                      <a:r>
                        <a:rPr lang="es-ES" sz="1400" baseline="0" dirty="0" smtClean="0"/>
                        <a:t> de medidas</a:t>
                      </a:r>
                      <a:endParaRPr lang="es-ES" sz="14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1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49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73</a:t>
                      </a:r>
                      <a:endParaRPr lang="es-ES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24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5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2,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TOTAL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.056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.209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.256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.035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.119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8,1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77207" y="692696"/>
            <a:ext cx="1771257" cy="1080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4983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585216"/>
            <a:ext cx="6336704" cy="1499616"/>
          </a:xfrm>
        </p:spPr>
        <p:txBody>
          <a:bodyPr/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Notificaciones y Embargos</a:t>
            </a:r>
            <a:r>
              <a:rPr lang="es-ES" sz="3200" dirty="0" smtClean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es-ES" sz="3200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s-ES" sz="2000" dirty="0" smtClean="0">
                <a:solidFill>
                  <a:schemeClr val="accent2">
                    <a:lumMod val="75000"/>
                  </a:schemeClr>
                </a:solidFill>
              </a:rPr>
              <a:t>(Servicio común)</a:t>
            </a:r>
            <a:endParaRPr lang="es-ES" sz="32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73020218"/>
              </p:ext>
            </p:extLst>
          </p:nvPr>
        </p:nvGraphicFramePr>
        <p:xfrm>
          <a:off x="683568" y="1988839"/>
          <a:ext cx="6768752" cy="2570978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1683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004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8567">
                <a:tc gridSpan="2">
                  <a:txBody>
                    <a:bodyPr/>
                    <a:lstStyle/>
                    <a:p>
                      <a:r>
                        <a:rPr lang="es-ES" dirty="0" smtClean="0"/>
                        <a:t>Movimientos de Asuntos</a:t>
                      </a:r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8567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Ingresados</a:t>
                      </a:r>
                      <a:endParaRPr lang="es-ES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8567">
                <a:tc>
                  <a:txBody>
                    <a:bodyPr/>
                    <a:lstStyle/>
                    <a:p>
                      <a:r>
                        <a:rPr lang="es-ES" dirty="0" smtClean="0"/>
                        <a:t>2021</a:t>
                      </a:r>
                      <a:endParaRPr lang="es-ES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7.016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8567">
                <a:tc>
                  <a:txBody>
                    <a:bodyPr/>
                    <a:lstStyle/>
                    <a:p>
                      <a:r>
                        <a:rPr lang="es-ES" dirty="0" smtClean="0"/>
                        <a:t>2020</a:t>
                      </a:r>
                      <a:endParaRPr lang="es-ES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dirty="0" smtClean="0"/>
                        <a:t>33.512</a:t>
                      </a:r>
                    </a:p>
                    <a:p>
                      <a:pPr algn="ctr"/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05197">
                <a:tc>
                  <a:txBody>
                    <a:bodyPr/>
                    <a:lstStyle/>
                    <a:p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0,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4610621"/>
              </p:ext>
            </p:extLst>
          </p:nvPr>
        </p:nvGraphicFramePr>
        <p:xfrm>
          <a:off x="611560" y="4437112"/>
          <a:ext cx="6912768" cy="2123440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168352"/>
                <a:gridCol w="3744416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s-ES" dirty="0" smtClean="0"/>
                        <a:t>Notificaciones LEXNET</a:t>
                      </a:r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2021</a:t>
                      </a:r>
                      <a:endParaRPr lang="es-ES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.430.864</a:t>
                      </a:r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2020</a:t>
                      </a:r>
                      <a:endParaRPr lang="es-ES" b="1" dirty="0">
                        <a:solidFill>
                          <a:schemeClr val="accent3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409.248</a:t>
                      </a:r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72,5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48264" y="620688"/>
            <a:ext cx="1584175" cy="115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82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242748"/>
            <a:ext cx="6912768" cy="1028050"/>
          </a:xfrm>
        </p:spPr>
        <p:txBody>
          <a:bodyPr>
            <a:normAutofit/>
          </a:bodyPr>
          <a:lstStyle/>
          <a:p>
            <a:pPr algn="ctr"/>
            <a:r>
              <a:rPr lang="es-ES" sz="3600" b="1" dirty="0" smtClean="0">
                <a:solidFill>
                  <a:schemeClr val="accent2">
                    <a:lumMod val="75000"/>
                  </a:schemeClr>
                </a:solidFill>
              </a:rPr>
              <a:t>Servicio de Atención a la Víctima</a:t>
            </a:r>
            <a:endParaRPr lang="es-ES" sz="3600" b="1" dirty="0">
              <a:solidFill>
                <a:srgbClr val="C00000"/>
              </a:solidFill>
            </a:endParaRPr>
          </a:p>
        </p:txBody>
      </p:sp>
      <p:pic>
        <p:nvPicPr>
          <p:cNvPr id="4" name="Picture 2" descr="C:\Users\cgpj\Desktop\CnjCUEbWgAIKjdF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260648"/>
            <a:ext cx="1440160" cy="936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665766"/>
              </p:ext>
            </p:extLst>
          </p:nvPr>
        </p:nvGraphicFramePr>
        <p:xfrm>
          <a:off x="467544" y="1483126"/>
          <a:ext cx="8568952" cy="5039594"/>
        </p:xfrm>
        <a:graphic>
          <a:graphicData uri="http://schemas.openxmlformats.org/drawingml/2006/table">
            <a:tbl>
              <a:tblPr firstRow="1" bandRow="1">
                <a:tableStyleId>{46F890A9-2807-4EBB-B81D-B2AA78EC7F39}</a:tableStyleId>
              </a:tblPr>
              <a:tblGrid>
                <a:gridCol w="3480759"/>
                <a:gridCol w="1505193"/>
                <a:gridCol w="1551567"/>
                <a:gridCol w="2031433"/>
              </a:tblGrid>
              <a:tr h="141416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20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2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Evo</a:t>
                      </a:r>
                      <a:r>
                        <a:rPr lang="es-ES" baseline="0" dirty="0" smtClean="0"/>
                        <a:t> </a:t>
                      </a:r>
                      <a:r>
                        <a:rPr lang="es-ES" dirty="0" smtClean="0"/>
                        <a:t>2020-2021</a:t>
                      </a:r>
                      <a:endParaRPr lang="es-ES" dirty="0"/>
                    </a:p>
                  </a:txBody>
                  <a:tcPr/>
                </a:tc>
              </a:tr>
              <a:tr h="327806">
                <a:tc>
                  <a:txBody>
                    <a:bodyPr/>
                    <a:lstStyle/>
                    <a:p>
                      <a:pPr algn="ctr"/>
                      <a:r>
                        <a:rPr lang="es-E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Total intervenciones</a:t>
                      </a:r>
                    </a:p>
                    <a:p>
                      <a:pPr algn="ctr"/>
                      <a:endParaRPr lang="es-ES" sz="18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/>
                        <a:t>10.277</a:t>
                      </a:r>
                      <a:endParaRPr lang="es-E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/>
                        <a:t>13.051</a:t>
                      </a:r>
                      <a:endParaRPr lang="es-E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b="1" dirty="0" smtClean="0">
                          <a:solidFill>
                            <a:schemeClr val="tx1"/>
                          </a:solidFill>
                        </a:rPr>
                        <a:t>26,9%</a:t>
                      </a:r>
                      <a:endParaRPr lang="es-E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27806">
                <a:tc gridSpan="4">
                  <a:txBody>
                    <a:bodyPr/>
                    <a:lstStyle/>
                    <a:p>
                      <a:pPr algn="ctr"/>
                      <a:r>
                        <a:rPr lang="es-ES" sz="20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D</a:t>
                      </a:r>
                      <a:r>
                        <a:rPr lang="es-ES" sz="2000" baseline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litos</a:t>
                      </a:r>
                      <a:endParaRPr lang="es-ES" sz="2000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00432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Violencia de género</a:t>
                      </a:r>
                      <a:r>
                        <a:rPr lang="es-ES" sz="1600" baseline="0" dirty="0" smtClean="0"/>
                        <a:t> y doméstica</a:t>
                      </a:r>
                      <a:endParaRPr lang="es-ES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674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98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-11,2%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573661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Contra</a:t>
                      </a:r>
                      <a:r>
                        <a:rPr lang="es-ES" sz="1600" baseline="0" dirty="0" smtClean="0"/>
                        <a:t> la libertad sexual </a:t>
                      </a:r>
                      <a:endParaRPr lang="es-ES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3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65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2,6%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34451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Lesiones</a:t>
                      </a:r>
                    </a:p>
                    <a:p>
                      <a:pPr algn="ctr"/>
                      <a:endParaRPr lang="es-ES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2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1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-21,1%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573661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Coacciones</a:t>
                      </a:r>
                      <a:r>
                        <a:rPr lang="es-ES" sz="1600" baseline="0" dirty="0" smtClean="0"/>
                        <a:t> y amenazas</a:t>
                      </a:r>
                      <a:endParaRPr lang="es-ES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1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2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-17,6%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27806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/>
                        <a:t>Otros</a:t>
                      </a:r>
                      <a:endParaRPr lang="es-ES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91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06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6,4%</a:t>
                      </a:r>
                      <a:endParaRPr lang="es-ES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573661"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600" dirty="0" smtClean="0"/>
                    </a:p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Total delitos</a:t>
                      </a:r>
                    </a:p>
                    <a:p>
                      <a:pPr algn="ctr"/>
                      <a:endParaRPr lang="es-ES" sz="16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/>
                    </a:p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/>
                        <a:t>921</a:t>
                      </a:r>
                      <a:endParaRPr lang="es-ES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endParaRPr lang="es-E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/>
                    </a:p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/>
                        <a:t>852</a:t>
                      </a:r>
                      <a:endParaRPr lang="es-ES" b="1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pPr algn="ctr"/>
                      <a:endParaRPr lang="es-E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b="1" dirty="0" smtClean="0"/>
                    </a:p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b="1" dirty="0" smtClean="0"/>
                        <a:t>-7,3%</a:t>
                      </a:r>
                      <a:endParaRPr lang="es-ES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4398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5388080" cy="1403624"/>
          </a:xfrm>
        </p:spPr>
        <p:txBody>
          <a:bodyPr/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MEDIACIÓN</a:t>
            </a:r>
            <a:r>
              <a:rPr lang="es-ES" dirty="0" smtClean="0"/>
              <a:t> </a:t>
            </a:r>
            <a:endParaRPr lang="es-ES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552928"/>
              </p:ext>
            </p:extLst>
          </p:nvPr>
        </p:nvGraphicFramePr>
        <p:xfrm>
          <a:off x="783084" y="2492896"/>
          <a:ext cx="7289800" cy="30378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822450"/>
                <a:gridCol w="1822450"/>
                <a:gridCol w="1822450"/>
                <a:gridCol w="1822450"/>
              </a:tblGrid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EXPEDIENTES DERIVADO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EXPEDIENTES INICIADOS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ACUERDOS</a:t>
                      </a:r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PENAL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5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6</a:t>
                      </a:r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CIVIL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</a:t>
                      </a:r>
                      <a:endParaRPr lang="es-E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FAMILIAR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0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 smtClean="0"/>
                        <a:t>MENORES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8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82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56</a:t>
                      </a:r>
                      <a:endParaRPr lang="es-ES" dirty="0"/>
                    </a:p>
                  </a:txBody>
                  <a:tcPr/>
                </a:tc>
              </a:tr>
              <a:tr h="675744"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dirty="0" smtClean="0"/>
                    </a:p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dirty="0" smtClean="0"/>
                        <a:t>TOTAL</a:t>
                      </a:r>
                    </a:p>
                    <a:p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125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111</a:t>
                      </a:r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/>
                    </a:p>
                    <a:p>
                      <a:pPr algn="ctr"/>
                      <a:r>
                        <a:rPr lang="es-ES" dirty="0" smtClean="0"/>
                        <a:t>74</a:t>
                      </a:r>
                      <a:endParaRPr lang="es-E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2 Marcador de contenido"/>
          <p:cNvSpPr txBox="1">
            <a:spLocks/>
          </p:cNvSpPr>
          <p:nvPr/>
        </p:nvSpPr>
        <p:spPr>
          <a:xfrm>
            <a:off x="683568" y="5445224"/>
            <a:ext cx="7488832" cy="864096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>
            <a:lvl1pPr marL="91440" indent="-91440" algn="l" defTabSz="914377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Char char=" 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57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Char char="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ES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56176" y="620688"/>
            <a:ext cx="1872208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897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6036152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Necesidades de Planta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68096" y="2286000"/>
            <a:ext cx="7980368" cy="4023360"/>
          </a:xfrm>
        </p:spPr>
        <p:txBody>
          <a:bodyPr/>
          <a:lstStyle/>
          <a:p>
            <a:endParaRPr lang="es-ES" dirty="0" smtClean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Sexto Magistrado de la Audiencia Provincial</a:t>
            </a:r>
          </a:p>
          <a:p>
            <a:endParaRPr lang="es-ES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Completar la Sala de lo Contencioso Administrativo del TSJR</a:t>
            </a:r>
          </a:p>
          <a:p>
            <a:endParaRPr lang="es-ES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Octavo Juzgado de Primera Instancia en Logroño</a:t>
            </a:r>
          </a:p>
          <a:p>
            <a:endParaRPr lang="es-ES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Tercer Magistrado de la Sala de lo Social del TSJR</a:t>
            </a:r>
            <a:endParaRPr lang="es-ES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7170" name="Picture 2" descr="C:\Users\cgpj\Desktop\f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764704"/>
            <a:ext cx="1563638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1108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83568" y="2852936"/>
            <a:ext cx="3566160" cy="720080"/>
          </a:xfrm>
        </p:spPr>
        <p:txBody>
          <a:bodyPr>
            <a:normAutofit/>
          </a:bodyPr>
          <a:lstStyle/>
          <a:p>
            <a:pPr algn="ctr"/>
            <a:r>
              <a:rPr lang="es-ES" sz="1800" dirty="0" smtClean="0">
                <a:solidFill>
                  <a:schemeClr val="bg2">
                    <a:lumMod val="50000"/>
                  </a:schemeClr>
                </a:solidFill>
              </a:rPr>
              <a:t>DISTRIBUCIÓN POR SEXO</a:t>
            </a:r>
            <a:endParaRPr lang="es-ES" sz="1800" dirty="0">
              <a:solidFill>
                <a:schemeClr val="bg2">
                  <a:lumMod val="50000"/>
                </a:schemeClr>
              </a:solidFill>
            </a:endParaRPr>
          </a:p>
        </p:txBody>
      </p:sp>
      <p:graphicFrame>
        <p:nvGraphicFramePr>
          <p:cNvPr id="7" name="6 Marcador de contenido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92279587"/>
              </p:ext>
            </p:extLst>
          </p:nvPr>
        </p:nvGraphicFramePr>
        <p:xfrm>
          <a:off x="1331640" y="3645024"/>
          <a:ext cx="2376265" cy="2664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716016" y="2852936"/>
            <a:ext cx="3350136" cy="720080"/>
          </a:xfrm>
        </p:spPr>
        <p:txBody>
          <a:bodyPr>
            <a:noAutofit/>
          </a:bodyPr>
          <a:lstStyle/>
          <a:p>
            <a:pPr algn="ctr"/>
            <a:r>
              <a:rPr lang="es-ES" sz="1800" dirty="0" smtClean="0">
                <a:solidFill>
                  <a:schemeClr val="bg2">
                    <a:lumMod val="50000"/>
                  </a:schemeClr>
                </a:solidFill>
              </a:rPr>
              <a:t>EDAD Y ANTIGÜEDAD</a:t>
            </a:r>
            <a:endParaRPr lang="es-ES" sz="1800" dirty="0">
              <a:solidFill>
                <a:schemeClr val="bg2">
                  <a:lumMod val="50000"/>
                </a:schemeClr>
              </a:solidFill>
            </a:endParaRPr>
          </a:p>
        </p:txBody>
      </p:sp>
      <p:graphicFrame>
        <p:nvGraphicFramePr>
          <p:cNvPr id="8" name="7 Marcador de contenido"/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175697032"/>
              </p:ext>
            </p:extLst>
          </p:nvPr>
        </p:nvGraphicFramePr>
        <p:xfrm>
          <a:off x="4480400" y="3933056"/>
          <a:ext cx="4268064" cy="184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9002"/>
                <a:gridCol w="907813"/>
                <a:gridCol w="978408"/>
                <a:gridCol w="1332841"/>
              </a:tblGrid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200" dirty="0" smtClean="0"/>
                        <a:t>TOTAL</a:t>
                      </a:r>
                      <a:endParaRPr lang="es-E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200" dirty="0" smtClean="0"/>
                        <a:t>EDAD</a:t>
                      </a:r>
                      <a:r>
                        <a:rPr lang="es-ES" sz="1200" baseline="0" dirty="0" smtClean="0"/>
                        <a:t> MEDIA</a:t>
                      </a:r>
                      <a:endParaRPr lang="es-ES" sz="1200" dirty="0" smtClean="0"/>
                    </a:p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200" dirty="0" smtClean="0"/>
                        <a:t>ANTIGÜEDAD MEDIA</a:t>
                      </a:r>
                      <a:endParaRPr lang="es-E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4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MUJERES</a:t>
                      </a:r>
                      <a:endParaRPr lang="es-ES" sz="1400" b="1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3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48,3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7,9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4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VARONES</a:t>
                      </a:r>
                      <a:endParaRPr lang="es-ES" sz="1400" b="1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4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54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3,7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" sz="14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OTAL</a:t>
                      </a:r>
                      <a:endParaRPr lang="es-ES" sz="1400" b="1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37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50,5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,1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2 Marcador de contenido"/>
          <p:cNvSpPr txBox="1">
            <a:spLocks/>
          </p:cNvSpPr>
          <p:nvPr/>
        </p:nvSpPr>
        <p:spPr>
          <a:xfrm>
            <a:off x="611560" y="548680"/>
            <a:ext cx="6480720" cy="2232248"/>
          </a:xfrm>
          <a:prstGeom prst="rect">
            <a:avLst/>
          </a:prstGeom>
        </p:spPr>
        <p:txBody>
          <a:bodyPr vert="horz" lIns="137160" tIns="45720" rIns="137160" bIns="45720" rtlCol="0" anchor="ctr">
            <a:normAutofit fontScale="62500" lnSpcReduction="20000"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Tw Cen MT" panose="020B0602020104020603" pitchFamily="34" charset="0"/>
              <a:buNone/>
              <a:defRPr sz="2200" b="0" kern="1200" cap="none" baseline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2"/>
              </a:buClr>
              <a:buFont typeface="Wingdings 3" pitchFamily="18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6500" dirty="0" smtClean="0"/>
              <a:t>PLANTILLA</a:t>
            </a:r>
          </a:p>
          <a:p>
            <a:pPr algn="ctr"/>
            <a:endParaRPr lang="es-ES" sz="6500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900" dirty="0" smtClean="0"/>
              <a:t>En La Rioja ejercen un total de 37 Jueces y Magistrados</a:t>
            </a:r>
          </a:p>
          <a:p>
            <a:r>
              <a:rPr lang="es-ES" sz="2900" dirty="0" smtClean="0"/>
              <a:t>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900" dirty="0" smtClean="0"/>
              <a:t>Con una ratio de 11,7 jueces por cada 100.000 habitantes</a:t>
            </a:r>
          </a:p>
          <a:p>
            <a:endParaRPr lang="es-ES" sz="2900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900" dirty="0"/>
              <a:t>La Rioja es la Comunidad Autónoma con mayor porcentaje de mujeres entre Jueces y Magistrados en activo (62,2%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s-ES" sz="2900" dirty="0"/>
          </a:p>
        </p:txBody>
      </p:sp>
      <p:pic>
        <p:nvPicPr>
          <p:cNvPr id="10" name="Picture 3" descr="C:\Users\cgpj\Desktop\9ec9c7c42e9a24586f26e4dd71f4ca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692696"/>
            <a:ext cx="1656184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2178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585216"/>
            <a:ext cx="5976664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Necesidades de personal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68096" y="2286000"/>
            <a:ext cx="8268400" cy="402336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Crear 11 plazas de plantilla</a:t>
            </a:r>
          </a:p>
          <a:p>
            <a:pPr lvl="1"/>
            <a:r>
              <a:rPr lang="es-ES" dirty="0">
                <a:solidFill>
                  <a:schemeClr val="accent2">
                    <a:lumMod val="75000"/>
                  </a:schemeClr>
                </a:solidFill>
              </a:rPr>
              <a:t>1</a:t>
            </a:r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 LAJ, 1 Gestor, 4 Tramitadores, 1 Auxilio, 3 Peritos y 1 Asistente social</a:t>
            </a:r>
          </a:p>
          <a:p>
            <a:pPr lvl="1"/>
            <a:endParaRPr lang="es-ES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Aprobar </a:t>
            </a:r>
            <a:r>
              <a:rPr lang="es-ES" dirty="0">
                <a:solidFill>
                  <a:schemeClr val="accent2">
                    <a:lumMod val="75000"/>
                  </a:schemeClr>
                </a:solidFill>
              </a:rPr>
              <a:t>6</a:t>
            </a:r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 refuerzos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6 Tramitadores</a:t>
            </a:r>
          </a:p>
          <a:p>
            <a:endParaRPr lang="es-ES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Reestructurar las plantillas para adaptarlas a la NOJ</a:t>
            </a:r>
          </a:p>
          <a:p>
            <a:endParaRPr lang="es-ES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Dotar de mayor celeridad al nombramientos de interinos</a:t>
            </a:r>
          </a:p>
          <a:p>
            <a:endParaRPr lang="es-ES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6146" name="Picture 2" descr="C:\Users\cgpj\Desktop\d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9" y="980728"/>
            <a:ext cx="1800200" cy="1093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8960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68096" y="585216"/>
            <a:ext cx="5964144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Necesidades  Materiales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27584" y="2204864"/>
            <a:ext cx="7920880" cy="453650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Palacio de Justicia de Logroño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Sala para juicios mediáticos y jurados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Vinilos en cristales y puertas de los despachos</a:t>
            </a:r>
          </a:p>
          <a:p>
            <a:pPr lvl="1"/>
            <a:endParaRPr lang="es-ES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Reforma integral de los Juzgados de Calahorra</a:t>
            </a:r>
          </a:p>
          <a:p>
            <a:pPr lvl="1"/>
            <a:r>
              <a:rPr lang="es-ES" dirty="0">
                <a:solidFill>
                  <a:schemeClr val="accent2">
                    <a:lumMod val="75000"/>
                  </a:schemeClr>
                </a:solidFill>
              </a:rPr>
              <a:t>Calefacción, refrigeración, </a:t>
            </a:r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cableado eléctrico y persianas o estores</a:t>
            </a:r>
            <a:endParaRPr lang="es-ES" dirty="0">
              <a:solidFill>
                <a:schemeClr val="accent2">
                  <a:lumMod val="75000"/>
                </a:schemeClr>
              </a:solidFill>
            </a:endParaRP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2 Salas de videoconferencias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1 Sala para declaración de menores y/o discapacitados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1 Sala para entrevistas con forenses y con el equipo psicosocial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Calabozos</a:t>
            </a:r>
            <a:endParaRPr lang="es-ES" dirty="0">
              <a:solidFill>
                <a:schemeClr val="accent2">
                  <a:lumMod val="75000"/>
                </a:schemeClr>
              </a:solidFill>
            </a:endParaRPr>
          </a:p>
          <a:p>
            <a:pPr marL="128019" lvl="1" indent="0">
              <a:buNone/>
            </a:pPr>
            <a:endParaRPr lang="es-ES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Reforma </a:t>
            </a:r>
            <a:r>
              <a:rPr lang="es-ES" dirty="0">
                <a:solidFill>
                  <a:schemeClr val="accent2">
                    <a:lumMod val="75000"/>
                  </a:schemeClr>
                </a:solidFill>
              </a:rPr>
              <a:t>integral de los Juzgados de </a:t>
            </a:r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Haro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Calefacción, refrigeración, cableado eléctrico, tuberías, tejado y puertas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1 Sala </a:t>
            </a:r>
            <a:r>
              <a:rPr lang="es-ES" dirty="0">
                <a:solidFill>
                  <a:schemeClr val="accent2">
                    <a:lumMod val="75000"/>
                  </a:schemeClr>
                </a:solidFill>
              </a:rPr>
              <a:t>de videoconferencias</a:t>
            </a:r>
          </a:p>
          <a:p>
            <a:pPr lvl="1"/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Calabozos y accesos</a:t>
            </a:r>
            <a:endParaRPr lang="es-ES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s-ES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es-ES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s-ES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2" descr="C:\Users\cgpj\Desktop\modernizacja-stron-internetowych-aktualizacja-380x38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764704"/>
            <a:ext cx="1440160" cy="1368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0119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585216"/>
            <a:ext cx="6264696" cy="1499616"/>
          </a:xfrm>
        </p:spPr>
        <p:txBody>
          <a:bodyPr>
            <a:normAutofit/>
          </a:bodyPr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Necesidades  informáticas</a:t>
            </a:r>
            <a:endParaRPr lang="es-ES" sz="3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68096" y="2354746"/>
            <a:ext cx="7290055" cy="3954614"/>
          </a:xfrm>
        </p:spPr>
        <p:txBody>
          <a:bodyPr/>
          <a:lstStyle/>
          <a:p>
            <a:endParaRPr lang="es-ES" dirty="0" smtClean="0">
              <a:solidFill>
                <a:schemeClr val="accent5">
                  <a:lumMod val="75000"/>
                </a:schemeClr>
              </a:solidFill>
            </a:endParaRPr>
          </a:p>
          <a:p>
            <a:endParaRPr lang="es-ES" dirty="0" smtClean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Renovar equipos de grabación y videoconferencia</a:t>
            </a: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Instalar 2 escáneres y 1 fotocopiadora</a:t>
            </a:r>
          </a:p>
          <a:p>
            <a:r>
              <a:rPr lang="es-ES" dirty="0">
                <a:solidFill>
                  <a:schemeClr val="accent2">
                    <a:lumMod val="75000"/>
                  </a:schemeClr>
                </a:solidFill>
              </a:rPr>
              <a:t>Implementar mejoras en el EJE</a:t>
            </a: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Integrar E-FIDELIUS en el sistema </a:t>
            </a:r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HORUS</a:t>
            </a:r>
            <a:endParaRPr lang="es-ES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s-ES" dirty="0" smtClean="0">
                <a:solidFill>
                  <a:schemeClr val="accent2">
                    <a:lumMod val="75000"/>
                  </a:schemeClr>
                </a:solidFill>
              </a:rPr>
              <a:t>Integrar a los Administradores concursales en LEX-NET</a:t>
            </a:r>
          </a:p>
          <a:p>
            <a:pPr marL="0" indent="0">
              <a:buNone/>
            </a:pPr>
            <a:endParaRPr lang="es-ES" dirty="0">
              <a:solidFill>
                <a:schemeClr val="accent5">
                  <a:lumMod val="75000"/>
                </a:schemeClr>
              </a:solidFill>
            </a:endParaRPr>
          </a:p>
          <a:p>
            <a:endParaRPr lang="es-ES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6" name="Picture 2" descr="C:\Users\cgpj\Desktop\redes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692696"/>
            <a:ext cx="1932654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5575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1115616" y="1556792"/>
            <a:ext cx="6984776" cy="1656184"/>
          </a:xfrm>
        </p:spPr>
        <p:txBody>
          <a:bodyPr>
            <a:normAutofit/>
          </a:bodyPr>
          <a:lstStyle/>
          <a:p>
            <a:pPr algn="ctr"/>
            <a:r>
              <a:rPr lang="es-ES" sz="4000" dirty="0" smtClean="0">
                <a:solidFill>
                  <a:schemeClr val="accent2">
                    <a:lumMod val="75000"/>
                  </a:schemeClr>
                </a:solidFill>
              </a:rPr>
              <a:t>MUCHAS GRACIAS POR SU ATENCIÓN</a:t>
            </a:r>
            <a:endParaRPr lang="es-ES" sz="4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5868144" y="4581129"/>
            <a:ext cx="3275856" cy="792087"/>
          </a:xfrm>
        </p:spPr>
        <p:txBody>
          <a:bodyPr/>
          <a:lstStyle/>
          <a:p>
            <a:r>
              <a:rPr lang="es-ES" dirty="0" smtClean="0">
                <a:solidFill>
                  <a:schemeClr val="accent3">
                    <a:lumMod val="75000"/>
                  </a:schemeClr>
                </a:solidFill>
              </a:rPr>
              <a:t>Palacio de Justicia de La Rioja</a:t>
            </a:r>
          </a:p>
          <a:p>
            <a:r>
              <a:rPr lang="es-ES" dirty="0" smtClean="0">
                <a:solidFill>
                  <a:schemeClr val="accent3">
                    <a:lumMod val="75000"/>
                  </a:schemeClr>
                </a:solidFill>
              </a:rPr>
              <a:t>Logroño, 17 de Mayo de 2022</a:t>
            </a:r>
            <a:endParaRPr lang="es-ES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211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AFF1F94-AC50-430A-85F3-2B3EE7D846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4571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FED48BD-E45C-491B-B61C-483EF98ADA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36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6024" y="962432"/>
            <a:ext cx="6980312" cy="594360"/>
          </a:xfrm>
        </p:spPr>
        <p:txBody>
          <a:bodyPr>
            <a:normAutofit/>
          </a:bodyPr>
          <a:lstStyle/>
          <a:p>
            <a:r>
              <a:rPr lang="es-ES" sz="3600" b="0" dirty="0">
                <a:solidFill>
                  <a:schemeClr val="accent2">
                    <a:lumMod val="75000"/>
                  </a:schemeClr>
                </a:solidFill>
              </a:rPr>
              <a:t>Asuntos </a:t>
            </a:r>
            <a:r>
              <a:rPr lang="es-ES" sz="3600" b="0" dirty="0" smtClean="0">
                <a:solidFill>
                  <a:schemeClr val="accent2">
                    <a:lumMod val="75000"/>
                  </a:schemeClr>
                </a:solidFill>
              </a:rPr>
              <a:t>Ingresados</a:t>
            </a:r>
            <a:endParaRPr lang="es-ES" sz="36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373476854"/>
              </p:ext>
            </p:extLst>
          </p:nvPr>
        </p:nvGraphicFramePr>
        <p:xfrm>
          <a:off x="971600" y="2132856"/>
          <a:ext cx="7200800" cy="3403600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18002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83704">
                <a:tc gridSpan="4">
                  <a:txBody>
                    <a:bodyPr/>
                    <a:lstStyle/>
                    <a:p>
                      <a:pPr algn="l"/>
                      <a:r>
                        <a:rPr lang="es-ES" dirty="0"/>
                        <a:t>TODAS LAS JURISDICCIONES</a:t>
                      </a:r>
                    </a:p>
                    <a:p>
                      <a:pPr algn="l"/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2020</a:t>
                      </a:r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2021</a:t>
                      </a:r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EVOLUCIÓN</a:t>
                      </a:r>
                    </a:p>
                    <a:p>
                      <a:pPr algn="ctr"/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CIV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1.695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3.374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4,3%</a:t>
                      </a:r>
                      <a:endParaRPr lang="es-E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PE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0.967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3.182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,2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CONT-AD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074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306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1,6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SO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.024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.474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2,2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sz="2000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5.760</a:t>
                      </a:r>
                      <a:endParaRPr lang="es-ES" sz="20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30.336</a:t>
                      </a:r>
                      <a:endParaRPr lang="es-ES" sz="20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7,7%</a:t>
                      </a:r>
                      <a:endParaRPr lang="es-ES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" name="Picture 3" descr="C:\Users\cgpj\Desktop\images (2)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725485"/>
            <a:ext cx="1559446" cy="114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637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DAC966B-7175-4EF6-8573-0703DF166D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783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9A2BE45E-7754-416A-A91B-FACD6E7E33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22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459757209"/>
              </p:ext>
            </p:extLst>
          </p:nvPr>
        </p:nvGraphicFramePr>
        <p:xfrm>
          <a:off x="971600" y="2132856"/>
          <a:ext cx="7200800" cy="334264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18002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83704">
                <a:tc gridSpan="4">
                  <a:txBody>
                    <a:bodyPr/>
                    <a:lstStyle/>
                    <a:p>
                      <a:pPr algn="l"/>
                      <a:r>
                        <a:rPr lang="es-ES" dirty="0"/>
                        <a:t>TODAS LAS JURISDICCIONES</a:t>
                      </a:r>
                    </a:p>
                    <a:p>
                      <a:pPr algn="l"/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2020</a:t>
                      </a:r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2021</a:t>
                      </a:r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EVOLUCIÓN</a:t>
                      </a:r>
                    </a:p>
                    <a:p>
                      <a:pPr algn="ctr"/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CIV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1.292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3.595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0,3%</a:t>
                      </a:r>
                      <a:endParaRPr lang="es-ES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PE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0.678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3.064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2,3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CONT-AD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103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472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3,5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SO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798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.254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5,4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sz="1600" b="1" dirty="0">
                        <a:solidFill>
                          <a:schemeClr val="accent2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s-ES" sz="16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4.871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30.385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2,5%</a:t>
                      </a:r>
                      <a:endParaRPr lang="es-ES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" name="1 Título">
            <a:extLst>
              <a:ext uri="{FF2B5EF4-FFF2-40B4-BE49-F238E27FC236}">
                <a16:creationId xmlns="" xmlns:a16="http://schemas.microsoft.com/office/drawing/2014/main" id="{C8E016C7-6F5E-466C-A92B-F7BD2EA71F7E}"/>
              </a:ext>
            </a:extLst>
          </p:cNvPr>
          <p:cNvSpPr txBox="1">
            <a:spLocks/>
          </p:cNvSpPr>
          <p:nvPr/>
        </p:nvSpPr>
        <p:spPr>
          <a:xfrm>
            <a:off x="616024" y="962432"/>
            <a:ext cx="6980312" cy="5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2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600" b="0" dirty="0">
                <a:solidFill>
                  <a:schemeClr val="accent2">
                    <a:lumMod val="75000"/>
                  </a:schemeClr>
                </a:solidFill>
              </a:rPr>
              <a:t>Asuntos </a:t>
            </a:r>
            <a:r>
              <a:rPr lang="es-ES" sz="3600" b="0" dirty="0" smtClean="0">
                <a:solidFill>
                  <a:schemeClr val="accent2">
                    <a:lumMod val="75000"/>
                  </a:schemeClr>
                </a:solidFill>
              </a:rPr>
              <a:t>RESUELTOS</a:t>
            </a:r>
            <a:endParaRPr lang="es-ES" sz="36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6" name="Picture 3" descr="C:\Users\cgpj\Desktop\images (2)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725485"/>
            <a:ext cx="1559446" cy="114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716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790FC1A-8EE9-4D76-8AA9-97C3D3829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728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0AD224F3-930E-47B9-BFAB-6D4EE1FBD7A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22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669581156"/>
              </p:ext>
            </p:extLst>
          </p:nvPr>
        </p:nvGraphicFramePr>
        <p:xfrm>
          <a:off x="971600" y="2132856"/>
          <a:ext cx="7200800" cy="3342640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18002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83704">
                <a:tc gridSpan="4">
                  <a:txBody>
                    <a:bodyPr/>
                    <a:lstStyle/>
                    <a:p>
                      <a:pPr algn="l"/>
                      <a:r>
                        <a:rPr lang="es-ES" dirty="0"/>
                        <a:t>TODAS LAS JURISDICCIONES</a:t>
                      </a:r>
                    </a:p>
                    <a:p>
                      <a:pPr algn="l"/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0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1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</a:p>
                    <a:p>
                      <a:pPr algn="ctr"/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CIV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7.126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6.737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tx1"/>
                          </a:solidFill>
                        </a:rPr>
                        <a:t>-5,7%</a:t>
                      </a:r>
                      <a:endParaRPr lang="es-E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PE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.683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4.975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6,2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CONT-AD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017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891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-12,</a:t>
                      </a:r>
                      <a:r>
                        <a:rPr lang="es-ES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es-ES" dirty="0" smtClean="0"/>
                        <a:t>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SO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dirty="0" smtClean="0"/>
                        <a:t>1.454</a:t>
                      </a:r>
                      <a:endParaRPr lang="es-ES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.658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4,0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r>
                        <a:rPr lang="es-ES" sz="1600" b="1" dirty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4.280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14.261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ES" b="1" dirty="0" smtClean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es-ES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-0,1%</a:t>
                      </a:r>
                      <a:endParaRPr lang="es-ES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1 Título">
            <a:extLst>
              <a:ext uri="{FF2B5EF4-FFF2-40B4-BE49-F238E27FC236}">
                <a16:creationId xmlns="" xmlns:a16="http://schemas.microsoft.com/office/drawing/2014/main" id="{2D9106AA-5993-459A-9ABD-35AF10C6BF13}"/>
              </a:ext>
            </a:extLst>
          </p:cNvPr>
          <p:cNvSpPr txBox="1">
            <a:spLocks/>
          </p:cNvSpPr>
          <p:nvPr/>
        </p:nvSpPr>
        <p:spPr>
          <a:xfrm>
            <a:off x="616024" y="962432"/>
            <a:ext cx="6980312" cy="5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2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600" b="0" dirty="0">
                <a:solidFill>
                  <a:schemeClr val="accent2">
                    <a:lumMod val="75000"/>
                  </a:schemeClr>
                </a:solidFill>
              </a:rPr>
              <a:t>Asuntos EN </a:t>
            </a:r>
            <a:r>
              <a:rPr lang="es-ES" sz="3600" b="0" dirty="0" smtClean="0">
                <a:solidFill>
                  <a:schemeClr val="accent2">
                    <a:lumMod val="75000"/>
                  </a:schemeClr>
                </a:solidFill>
              </a:rPr>
              <a:t>TRAMITACIÓN</a:t>
            </a:r>
            <a:endParaRPr lang="es-ES" sz="36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7" name="Picture 3" descr="C:\Users\cgpj\Desktop\images (2)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725485"/>
            <a:ext cx="1559446" cy="114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716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790FC1A-8EE9-4D76-8AA9-97C3D3829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6244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0AD224F3-930E-47B9-BFAB-6D4EE1FBD7A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220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271813141"/>
              </p:ext>
            </p:extLst>
          </p:nvPr>
        </p:nvGraphicFramePr>
        <p:xfrm>
          <a:off x="971600" y="2132856"/>
          <a:ext cx="7200800" cy="2331720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19442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561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83704">
                <a:tc gridSpan="4">
                  <a:txBody>
                    <a:bodyPr/>
                    <a:lstStyle/>
                    <a:p>
                      <a:pPr algn="l"/>
                      <a:r>
                        <a:rPr lang="es-ES" dirty="0"/>
                        <a:t>TODAS LAS JURISDICCIONES</a:t>
                      </a:r>
                    </a:p>
                    <a:p>
                      <a:pPr algn="l"/>
                      <a:endParaRPr lang="es-E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0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2021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VOLUCIÓN</a:t>
                      </a:r>
                    </a:p>
                    <a:p>
                      <a:pPr algn="ctr"/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INGRESADOS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5.760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0.336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>
                          <a:solidFill>
                            <a:schemeClr val="tx1"/>
                          </a:solidFill>
                        </a:rPr>
                        <a:t>17,7%</a:t>
                      </a:r>
                      <a:endParaRPr lang="es-E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RESUELTOS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4.871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30.385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22,5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</a:rPr>
                        <a:t>EN TRAMITACIÓN</a:t>
                      </a:r>
                      <a:endParaRPr lang="es-ES" sz="1600" b="1" dirty="0">
                        <a:solidFill>
                          <a:schemeClr val="accent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4.280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14.261</a:t>
                      </a:r>
                      <a:endParaRPr lang="es-ES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dirty="0" smtClean="0"/>
                        <a:t>-0,</a:t>
                      </a:r>
                      <a:r>
                        <a:rPr lang="es-ES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s-ES" dirty="0" smtClean="0"/>
                        <a:t>%</a:t>
                      </a:r>
                      <a:endParaRPr lang="es-E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1 Título">
            <a:extLst>
              <a:ext uri="{FF2B5EF4-FFF2-40B4-BE49-F238E27FC236}">
                <a16:creationId xmlns="" xmlns:a16="http://schemas.microsoft.com/office/drawing/2014/main" id="{2D9106AA-5993-459A-9ABD-35AF10C6BF13}"/>
              </a:ext>
            </a:extLst>
          </p:cNvPr>
          <p:cNvSpPr txBox="1">
            <a:spLocks/>
          </p:cNvSpPr>
          <p:nvPr/>
        </p:nvSpPr>
        <p:spPr>
          <a:xfrm>
            <a:off x="616024" y="962432"/>
            <a:ext cx="6980312" cy="59436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200" b="1" kern="1200" cap="all" spc="100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3600" b="0" dirty="0" smtClean="0">
                <a:solidFill>
                  <a:schemeClr val="accent2">
                    <a:lumMod val="75000"/>
                  </a:schemeClr>
                </a:solidFill>
              </a:rPr>
              <a:t>COMPARATIVA DE ASUNTOS</a:t>
            </a:r>
            <a:endParaRPr lang="es-ES" sz="36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7" name="Picture 3" descr="C:\Users\cgpj\Desktop\images (2)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725485"/>
            <a:ext cx="1559446" cy="114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5581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9552" y="620688"/>
            <a:ext cx="7014729" cy="720080"/>
          </a:xfrm>
        </p:spPr>
        <p:txBody>
          <a:bodyPr>
            <a:normAutofit/>
          </a:bodyPr>
          <a:lstStyle/>
          <a:p>
            <a:r>
              <a:rPr lang="es-ES" sz="3600" b="0" dirty="0" smtClean="0">
                <a:solidFill>
                  <a:schemeClr val="accent2">
                    <a:lumMod val="75000"/>
                  </a:schemeClr>
                </a:solidFill>
              </a:rPr>
              <a:t>COMPARATIVA DE ASUNTOS</a:t>
            </a:r>
            <a:endParaRPr lang="es-ES" sz="3600" b="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231812503"/>
              </p:ext>
            </p:extLst>
          </p:nvPr>
        </p:nvGraphicFramePr>
        <p:xfrm>
          <a:off x="215515" y="1573105"/>
          <a:ext cx="8856984" cy="5015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5220072" y="5445224"/>
            <a:ext cx="9361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3"/>
                </a:solidFill>
              </a:rPr>
              <a:t>891</a:t>
            </a:r>
            <a:endParaRPr lang="es-ES" sz="1600" dirty="0">
              <a:solidFill>
                <a:schemeClr val="accent3"/>
              </a:solidFill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2246276" y="3645024"/>
            <a:ext cx="9361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3"/>
                </a:solidFill>
              </a:rPr>
              <a:t>6.737</a:t>
            </a:r>
            <a:endParaRPr lang="es-ES" sz="1600" dirty="0">
              <a:solidFill>
                <a:schemeClr val="accent3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210272" y="1934098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2">
                    <a:lumMod val="50000"/>
                  </a:schemeClr>
                </a:solidFill>
              </a:rPr>
              <a:t>13.595</a:t>
            </a:r>
            <a:endParaRPr lang="es-E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3713554" y="4102639"/>
            <a:ext cx="867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3"/>
                </a:solidFill>
              </a:rPr>
              <a:t>4.975</a:t>
            </a:r>
            <a:endParaRPr lang="es-ES" sz="1600" dirty="0">
              <a:solidFill>
                <a:schemeClr val="accent3"/>
              </a:solidFill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3563888" y="1844824"/>
            <a:ext cx="100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2">
                    <a:lumMod val="50000"/>
                  </a:schemeClr>
                </a:solidFill>
              </a:rPr>
              <a:t>13.064</a:t>
            </a:r>
            <a:endParaRPr lang="es-E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2786779" y="1764821"/>
            <a:ext cx="13036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2">
                    <a:lumMod val="75000"/>
                  </a:schemeClr>
                </a:solidFill>
              </a:rPr>
              <a:t>13.182</a:t>
            </a:r>
            <a:endParaRPr lang="es-ES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6690185" y="5229200"/>
            <a:ext cx="864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3"/>
                </a:solidFill>
              </a:rPr>
              <a:t>1.658</a:t>
            </a:r>
            <a:endParaRPr lang="es-ES" sz="1600" dirty="0">
              <a:solidFill>
                <a:schemeClr val="accent3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4666526" y="5178678"/>
            <a:ext cx="9855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2">
                    <a:lumMod val="50000"/>
                  </a:schemeClr>
                </a:solidFill>
              </a:rPr>
              <a:t>1.472</a:t>
            </a:r>
            <a:endParaRPr lang="es-E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4090458" y="5301208"/>
            <a:ext cx="9135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2">
                    <a:lumMod val="75000"/>
                  </a:schemeClr>
                </a:solidFill>
              </a:rPr>
              <a:t>1.306</a:t>
            </a:r>
            <a:endParaRPr lang="es-ES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6300192" y="4962654"/>
            <a:ext cx="11296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2">
                    <a:lumMod val="50000"/>
                  </a:schemeClr>
                </a:solidFill>
              </a:rPr>
              <a:t>2.254</a:t>
            </a:r>
            <a:endParaRPr lang="es-E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5724126" y="4890646"/>
            <a:ext cx="9361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 smtClean="0">
                <a:solidFill>
                  <a:schemeClr val="accent2">
                    <a:lumMod val="75000"/>
                  </a:schemeClr>
                </a:solidFill>
              </a:rPr>
              <a:t>2.474</a:t>
            </a:r>
            <a:endParaRPr lang="es-ES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6" name="Picture 3" descr="C:\Users\cgpj\Desktop\images (2)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181" y="404664"/>
            <a:ext cx="1559446" cy="114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2890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9552" y="620688"/>
            <a:ext cx="6768752" cy="1080120"/>
          </a:xfrm>
        </p:spPr>
        <p:txBody>
          <a:bodyPr/>
          <a:lstStyle/>
          <a:p>
            <a:pPr algn="ctr"/>
            <a:r>
              <a:rPr lang="es-ES" sz="3600" dirty="0" smtClean="0">
                <a:solidFill>
                  <a:schemeClr val="accent2">
                    <a:lumMod val="75000"/>
                  </a:schemeClr>
                </a:solidFill>
              </a:rPr>
              <a:t>Asuntos en Tramitación </a:t>
            </a:r>
            <a:r>
              <a:rPr lang="es-ES" sz="2800" dirty="0" smtClean="0">
                <a:solidFill>
                  <a:schemeClr val="accent2"/>
                </a:solidFill>
              </a:rPr>
              <a:t/>
            </a:r>
            <a:br>
              <a:rPr lang="es-ES" sz="2800" dirty="0" smtClean="0">
                <a:solidFill>
                  <a:schemeClr val="accent2"/>
                </a:solidFill>
              </a:rPr>
            </a:br>
            <a:r>
              <a:rPr lang="es-ES" sz="2000" dirty="0" smtClean="0">
                <a:solidFill>
                  <a:schemeClr val="accent2"/>
                </a:solidFill>
              </a:rPr>
              <a:t>(CCAA </a:t>
            </a:r>
            <a:r>
              <a:rPr lang="es-ES" sz="2000" dirty="0" err="1" smtClean="0">
                <a:solidFill>
                  <a:schemeClr val="accent2"/>
                </a:solidFill>
              </a:rPr>
              <a:t>uni</a:t>
            </a:r>
            <a:r>
              <a:rPr lang="es-ES" sz="2000" dirty="0" smtClean="0">
                <a:solidFill>
                  <a:schemeClr val="accent2"/>
                </a:solidFill>
              </a:rPr>
              <a:t>-provinciales)</a:t>
            </a:r>
            <a:endParaRPr lang="es-ES" sz="2000" dirty="0">
              <a:solidFill>
                <a:srgbClr val="FF0000"/>
              </a:solidFill>
            </a:endParaRPr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31225989"/>
              </p:ext>
            </p:extLst>
          </p:nvPr>
        </p:nvGraphicFramePr>
        <p:xfrm>
          <a:off x="457200" y="1600200"/>
          <a:ext cx="7620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9 CuadroTexto"/>
          <p:cNvSpPr txBox="1"/>
          <p:nvPr/>
        </p:nvSpPr>
        <p:spPr>
          <a:xfrm>
            <a:off x="1774007" y="4271610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</a:rPr>
              <a:t>14.261</a:t>
            </a:r>
            <a:endParaRPr lang="es-ES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5940152" y="1891571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</a:rPr>
              <a:t>125.467</a:t>
            </a:r>
            <a:endParaRPr lang="es-ES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3787518" y="3763779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solidFill>
                  <a:schemeClr val="accent1">
                    <a:lumMod val="75000"/>
                  </a:schemeClr>
                </a:solidFill>
              </a:rPr>
              <a:t>32.785</a:t>
            </a:r>
            <a:endParaRPr lang="es-ES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7" name="Picture 3" descr="C:\Users\cgpj\Desktop\images (2)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660295"/>
            <a:ext cx="1559446" cy="114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444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E9ktpEoEHhjyKAHD1lR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n1tNwp.CW63QH.Se9W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n1tNwp.CW63QH.Se9W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BkRxIbhuP8b2YhBpik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BkRxIbhuP8b2YhBpik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UZtxx7R2.xZCQdLJkr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DBxCP3P._DjyrWdX6.P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rgbClr val="2E2B21"/>
      </a:dk1>
      <a:lt1>
        <a:srgbClr val="FFFFFF"/>
      </a:lt1>
      <a:dk2>
        <a:srgbClr val="605B4F"/>
      </a:dk2>
      <a:lt2>
        <a:srgbClr val="D8D6BE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8000"/>
              </a:schemeClr>
              <a:schemeClr val="phClr">
                <a:shade val="89000"/>
                <a:satMod val="145000"/>
              </a:schemeClr>
            </a:duotone>
          </a:blip>
          <a:tile tx="0" ty="0" sx="32000" sy="32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</a:schemeClr>
              <a:schemeClr val="phClr">
                <a:shade val="95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Integral" id="{3577F8C9-A904-41D8-97D2-FD898F53F20E}" vid="{090DCB5F-146D-478A-852A-34B16FE9F3A8}"/>
    </a:ext>
  </a:extLst>
</a:theme>
</file>

<file path=ppt/theme/theme2.xml><?xml version="1.0" encoding="utf-8"?>
<a:theme xmlns:a="http://schemas.openxmlformats.org/drawingml/2006/main" name="2_Integral">
  <a:themeElements>
    <a:clrScheme name="Integral">
      <a:dk1>
        <a:srgbClr val="2E2B21"/>
      </a:dk1>
      <a:lt1>
        <a:srgbClr val="FFFFFF"/>
      </a:lt1>
      <a:dk2>
        <a:srgbClr val="605B4F"/>
      </a:dk2>
      <a:lt2>
        <a:srgbClr val="D8D6BE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8000"/>
              </a:schemeClr>
              <a:schemeClr val="phClr">
                <a:shade val="89000"/>
                <a:satMod val="145000"/>
              </a:schemeClr>
            </a:duotone>
          </a:blip>
          <a:tile tx="0" ty="0" sx="32000" sy="32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</a:schemeClr>
              <a:schemeClr val="phClr">
                <a:shade val="95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Integral" id="{3577F8C9-A904-41D8-97D2-FD898F53F20E}" vid="{090DCB5F-146D-478A-852A-34B16FE9F3A8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476</TotalTime>
  <Words>1067</Words>
  <Application>Microsoft Office PowerPoint</Application>
  <PresentationFormat>Presentación en pantalla (4:3)</PresentationFormat>
  <Paragraphs>629</Paragraphs>
  <Slides>33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3</vt:i4>
      </vt:variant>
    </vt:vector>
  </HeadingPairs>
  <TitlesOfParts>
    <vt:vector size="36" baseType="lpstr">
      <vt:lpstr>Integral</vt:lpstr>
      <vt:lpstr>2_Integral</vt:lpstr>
      <vt:lpstr>think-cell Slide</vt:lpstr>
      <vt:lpstr>MEMORIA 2021</vt:lpstr>
      <vt:lpstr>Memoria 2021 </vt:lpstr>
      <vt:lpstr>Presentación de PowerPoint</vt:lpstr>
      <vt:lpstr>Asuntos Ingresados</vt:lpstr>
      <vt:lpstr>Presentación de PowerPoint</vt:lpstr>
      <vt:lpstr>Presentación de PowerPoint</vt:lpstr>
      <vt:lpstr>Presentación de PowerPoint</vt:lpstr>
      <vt:lpstr>COMPARATIVA DE ASUNTOS</vt:lpstr>
      <vt:lpstr>Asuntos en Tramitación  (CCAA uni-provinciales)</vt:lpstr>
      <vt:lpstr>Tasa de Pendencia</vt:lpstr>
      <vt:lpstr>Pendencia por jurisdicciones</vt:lpstr>
      <vt:lpstr>Litigiosidad  (litigios por cada 1.000 habitantes)</vt:lpstr>
      <vt:lpstr>Criminalidad  (delitos por cada 1.000 habitantes)</vt:lpstr>
      <vt:lpstr>INDICADORES CLAVE 1</vt:lpstr>
      <vt:lpstr>INDICADORES CLAVE 2</vt:lpstr>
      <vt:lpstr>Salas TSJR</vt:lpstr>
      <vt:lpstr>Audiencia Provincial</vt:lpstr>
      <vt:lpstr>Audiencia Provincial</vt:lpstr>
      <vt:lpstr>Violencia  sobre  la  Mujer </vt:lpstr>
      <vt:lpstr>Mujeres víctimas de viGE  (por cada 10.000 mujeres)</vt:lpstr>
      <vt:lpstr>Menores </vt:lpstr>
      <vt:lpstr>Juzgado de lo Mercantil</vt:lpstr>
      <vt:lpstr>Juzgado de lo Mercantil</vt:lpstr>
      <vt:lpstr>cláusulas abusivas</vt:lpstr>
      <vt:lpstr>Familia   (Logroño, Haro y Calahorra)</vt:lpstr>
      <vt:lpstr>Notificaciones y Embargos (Servicio común)</vt:lpstr>
      <vt:lpstr>Servicio de Atención a la Víctima</vt:lpstr>
      <vt:lpstr>MEDIACIÓN </vt:lpstr>
      <vt:lpstr>Necesidades de Planta</vt:lpstr>
      <vt:lpstr>Necesidades de personal</vt:lpstr>
      <vt:lpstr>Necesidades  Materiales</vt:lpstr>
      <vt:lpstr>Necesidades  informáticas</vt:lpstr>
      <vt:lpstr>MUCHAS GRACIAS POR SU ATENCIÓ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MORIA 2019</dc:title>
  <dc:creator>cgpj</dc:creator>
  <cp:lastModifiedBy>cgpj</cp:lastModifiedBy>
  <cp:revision>179</cp:revision>
  <cp:lastPrinted>2020-07-24T09:25:27Z</cp:lastPrinted>
  <dcterms:created xsi:type="dcterms:W3CDTF">2020-07-14T11:16:29Z</dcterms:created>
  <dcterms:modified xsi:type="dcterms:W3CDTF">2022-05-17T10:29:08Z</dcterms:modified>
</cp:coreProperties>
</file>